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28"/>
  </p:notesMasterIdLst>
  <p:sldIdLst>
    <p:sldId id="2147469806" r:id="rId6"/>
    <p:sldId id="2147469858" r:id="rId7"/>
    <p:sldId id="2147469855" r:id="rId8"/>
    <p:sldId id="2147483379" r:id="rId9"/>
    <p:sldId id="2147483396" r:id="rId10"/>
    <p:sldId id="2147483391" r:id="rId11"/>
    <p:sldId id="2147483392" r:id="rId12"/>
    <p:sldId id="2147483394" r:id="rId13"/>
    <p:sldId id="2147483377" r:id="rId14"/>
    <p:sldId id="2147469859" r:id="rId15"/>
    <p:sldId id="2147469853" r:id="rId16"/>
    <p:sldId id="2147483420" r:id="rId17"/>
    <p:sldId id="2147483372" r:id="rId18"/>
    <p:sldId id="2147483345" r:id="rId19"/>
    <p:sldId id="2147483373" r:id="rId20"/>
    <p:sldId id="2147483375" r:id="rId21"/>
    <p:sldId id="2147483374" r:id="rId22"/>
    <p:sldId id="2147483395" r:id="rId23"/>
    <p:sldId id="2147483381" r:id="rId24"/>
    <p:sldId id="2147469851" r:id="rId25"/>
    <p:sldId id="2147469852" r:id="rId26"/>
    <p:sldId id="2147483376" r:id="rId27"/>
  </p:sldIdLst>
  <p:sldSz cx="9906000" cy="6858000" type="A4"/>
  <p:notesSz cx="7104063" cy="10234613"/>
  <p:custDataLst>
    <p:tags r:id="rId2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1706" userDrawn="1">
          <p15:clr>
            <a:srgbClr val="A4A3A4"/>
          </p15:clr>
        </p15:guide>
        <p15:guide id="4" pos="13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73A4AEE6-C761-F1E1-875B-3C4AC70797D5}" name="Masuda, Yusuke 2" initials="MY2" userId="Masuda, Yusuke 2"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FBD5"/>
    <a:srgbClr val="CC99FF"/>
    <a:srgbClr val="FFCCFF"/>
    <a:srgbClr val="D9F3FF"/>
    <a:srgbClr val="D9D9D9"/>
    <a:srgbClr val="007CB0"/>
    <a:srgbClr val="43B02A"/>
    <a:srgbClr val="FFFFCC"/>
    <a:srgbClr val="EBFDE7"/>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FA3541-7E5E-44BF-AC6E-B4BCFB76683A}" v="19" dt="2026-05-20T02:34:47.764"/>
    <p1510:client id="{4A966E89-C091-444A-8795-B29261437F18}" v="220" dt="2026-05-19T04:51:37.760"/>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30" autoAdjust="0"/>
    <p:restoredTop sz="94660"/>
  </p:normalViewPr>
  <p:slideViewPr>
    <p:cSldViewPr snapToGrid="0">
      <p:cViewPr varScale="1">
        <p:scale>
          <a:sx n="101" d="100"/>
          <a:sy n="101" d="100"/>
        </p:scale>
        <p:origin x="1986" y="102"/>
      </p:cViewPr>
      <p:guideLst>
        <p:guide orient="horz" pos="1706"/>
        <p:guide pos="1396"/>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uda, Yusuke 2" userId="89e8346c-0ffa-4e0a-bf4c-6fc819ed007b" providerId="ADAL" clId="{9288546F-35D6-4D52-BA48-A384361A391F}"/>
    <pc:docChg chg="undo custSel mod addSld delSld modSld sldOrd addSection delSection modSection">
      <pc:chgData name="Masuda, Yusuke 2" userId="89e8346c-0ffa-4e0a-bf4c-6fc819ed007b" providerId="ADAL" clId="{9288546F-35D6-4D52-BA48-A384361A391F}" dt="2026-05-20T04:46:44.648" v="34896" actId="478"/>
      <pc:docMkLst>
        <pc:docMk/>
      </pc:docMkLst>
      <pc:sldChg chg="addSp modSp mod">
        <pc:chgData name="Masuda, Yusuke 2" userId="89e8346c-0ffa-4e0a-bf4c-6fc819ed007b" providerId="ADAL" clId="{9288546F-35D6-4D52-BA48-A384361A391F}" dt="2026-05-15T02:25:43.245" v="17721" actId="948"/>
        <pc:sldMkLst>
          <pc:docMk/>
          <pc:sldMk cId="1174244588" sldId="2147469806"/>
        </pc:sldMkLst>
        <pc:spChg chg="add mod">
          <ac:chgData name="Masuda, Yusuke 2" userId="89e8346c-0ffa-4e0a-bf4c-6fc819ed007b" providerId="ADAL" clId="{9288546F-35D6-4D52-BA48-A384361A391F}" dt="2026-05-15T02:25:43.245" v="17721" actId="948"/>
          <ac:spMkLst>
            <pc:docMk/>
            <pc:sldMk cId="1174244588" sldId="2147469806"/>
            <ac:spMk id="3" creationId="{6643E9CD-8ECB-B816-6C11-54A4BAF2E54F}"/>
          </ac:spMkLst>
        </pc:spChg>
      </pc:sldChg>
      <pc:sldChg chg="addSp delSp modSp add del mod ord modShow">
        <pc:chgData name="Masuda, Yusuke 2" userId="89e8346c-0ffa-4e0a-bf4c-6fc819ed007b" providerId="ADAL" clId="{9288546F-35D6-4D52-BA48-A384361A391F}" dt="2026-05-18T08:15:14.062" v="19727" actId="2696"/>
        <pc:sldMkLst>
          <pc:docMk/>
          <pc:sldMk cId="364208" sldId="2147469849"/>
        </pc:sldMkLst>
      </pc:sldChg>
      <pc:sldChg chg="addSp delSp modSp add del mod ord modShow">
        <pc:chgData name="Masuda, Yusuke 2" userId="89e8346c-0ffa-4e0a-bf4c-6fc819ed007b" providerId="ADAL" clId="{9288546F-35D6-4D52-BA48-A384361A391F}" dt="2026-05-18T08:15:14.062" v="19727" actId="2696"/>
        <pc:sldMkLst>
          <pc:docMk/>
          <pc:sldMk cId="514805073" sldId="2147469850"/>
        </pc:sldMkLst>
      </pc:sldChg>
      <pc:sldChg chg="addSp delSp modSp mod">
        <pc:chgData name="Masuda, Yusuke 2" userId="89e8346c-0ffa-4e0a-bf4c-6fc819ed007b" providerId="ADAL" clId="{9288546F-35D6-4D52-BA48-A384361A391F}" dt="2026-05-20T01:38:39.579" v="34678" actId="478"/>
        <pc:sldMkLst>
          <pc:docMk/>
          <pc:sldMk cId="1731173790" sldId="2147469851"/>
        </pc:sldMkLst>
        <pc:spChg chg="add mod">
          <ac:chgData name="Masuda, Yusuke 2" userId="89e8346c-0ffa-4e0a-bf4c-6fc819ed007b" providerId="ADAL" clId="{9288546F-35D6-4D52-BA48-A384361A391F}" dt="2026-04-24T10:07:46.345" v="16146" actId="20577"/>
          <ac:spMkLst>
            <pc:docMk/>
            <pc:sldMk cId="1731173790" sldId="2147469851"/>
            <ac:spMk id="3" creationId="{89790912-3F41-A353-8EBD-71198A505A32}"/>
          </ac:spMkLst>
        </pc:spChg>
        <pc:spChg chg="add mod">
          <ac:chgData name="Masuda, Yusuke 2" userId="89e8346c-0ffa-4e0a-bf4c-6fc819ed007b" providerId="ADAL" clId="{9288546F-35D6-4D52-BA48-A384361A391F}" dt="2026-05-19T04:44:19.271" v="34045" actId="115"/>
          <ac:spMkLst>
            <pc:docMk/>
            <pc:sldMk cId="1731173790" sldId="2147469851"/>
            <ac:spMk id="4" creationId="{1913C7F2-1898-60CB-FFF4-A0DCF555AD53}"/>
          </ac:spMkLst>
        </pc:spChg>
        <pc:spChg chg="add mod">
          <ac:chgData name="Masuda, Yusuke 2" userId="89e8346c-0ffa-4e0a-bf4c-6fc819ed007b" providerId="ADAL" clId="{9288546F-35D6-4D52-BA48-A384361A391F}" dt="2026-05-15T02:53:10.859" v="18746"/>
          <ac:spMkLst>
            <pc:docMk/>
            <pc:sldMk cId="1731173790" sldId="2147469851"/>
            <ac:spMk id="5" creationId="{52DACE0D-FE7F-218B-CCBA-D107AD91A105}"/>
          </ac:spMkLst>
        </pc:spChg>
        <pc:spChg chg="add mod">
          <ac:chgData name="Masuda, Yusuke 2" userId="89e8346c-0ffa-4e0a-bf4c-6fc819ed007b" providerId="ADAL" clId="{9288546F-35D6-4D52-BA48-A384361A391F}" dt="2026-05-19T04:45:00.762" v="34093" actId="552"/>
          <ac:spMkLst>
            <pc:docMk/>
            <pc:sldMk cId="1731173790" sldId="2147469851"/>
            <ac:spMk id="6" creationId="{B092AC85-8296-A8B1-3D51-C9812F874C91}"/>
          </ac:spMkLst>
        </pc:spChg>
        <pc:spChg chg="add mod">
          <ac:chgData name="Masuda, Yusuke 2" userId="89e8346c-0ffa-4e0a-bf4c-6fc819ed007b" providerId="ADAL" clId="{9288546F-35D6-4D52-BA48-A384361A391F}" dt="2026-05-19T04:45:00.762" v="34093" actId="552"/>
          <ac:spMkLst>
            <pc:docMk/>
            <pc:sldMk cId="1731173790" sldId="2147469851"/>
            <ac:spMk id="7" creationId="{2A9B63EB-CDEA-894E-2F2A-7C721033FE55}"/>
          </ac:spMkLst>
        </pc:spChg>
        <pc:spChg chg="add mod">
          <ac:chgData name="Masuda, Yusuke 2" userId="89e8346c-0ffa-4e0a-bf4c-6fc819ed007b" providerId="ADAL" clId="{9288546F-35D6-4D52-BA48-A384361A391F}" dt="2026-05-19T04:45:54.937" v="34133" actId="1035"/>
          <ac:spMkLst>
            <pc:docMk/>
            <pc:sldMk cId="1731173790" sldId="2147469851"/>
            <ac:spMk id="8" creationId="{32AF30E2-71D1-BFD6-FB85-A7BD8102DB25}"/>
          </ac:spMkLst>
        </pc:spChg>
        <pc:spChg chg="add mod">
          <ac:chgData name="Masuda, Yusuke 2" userId="89e8346c-0ffa-4e0a-bf4c-6fc819ed007b" providerId="ADAL" clId="{9288546F-35D6-4D52-BA48-A384361A391F}" dt="2026-05-19T04:46:05.732" v="34136" actId="113"/>
          <ac:spMkLst>
            <pc:docMk/>
            <pc:sldMk cId="1731173790" sldId="2147469851"/>
            <ac:spMk id="9" creationId="{CCA04B72-C7F5-4299-44BE-FFC1D5CFF199}"/>
          </ac:spMkLst>
        </pc:spChg>
        <pc:spChg chg="add mod">
          <ac:chgData name="Masuda, Yusuke 2" userId="89e8346c-0ffa-4e0a-bf4c-6fc819ed007b" providerId="ADAL" clId="{9288546F-35D6-4D52-BA48-A384361A391F}" dt="2026-04-23T07:02:54.373" v="15011" actId="554"/>
          <ac:spMkLst>
            <pc:docMk/>
            <pc:sldMk cId="1731173790" sldId="2147469851"/>
            <ac:spMk id="10" creationId="{A167B120-F446-089F-6A16-F87BA2782F32}"/>
          </ac:spMkLst>
        </pc:spChg>
        <pc:spChg chg="add mod">
          <ac:chgData name="Masuda, Yusuke 2" userId="89e8346c-0ffa-4e0a-bf4c-6fc819ed007b" providerId="ADAL" clId="{9288546F-35D6-4D52-BA48-A384361A391F}" dt="2026-05-19T04:46:00.857" v="34135" actId="14100"/>
          <ac:spMkLst>
            <pc:docMk/>
            <pc:sldMk cId="1731173790" sldId="2147469851"/>
            <ac:spMk id="11" creationId="{E0851427-9D88-6C02-9B95-7DE53A5D94E0}"/>
          </ac:spMkLst>
        </pc:spChg>
        <pc:spChg chg="add del mod">
          <ac:chgData name="Masuda, Yusuke 2" userId="89e8346c-0ffa-4e0a-bf4c-6fc819ed007b" providerId="ADAL" clId="{9288546F-35D6-4D52-BA48-A384361A391F}" dt="2026-05-20T01:38:39.579" v="34678" actId="478"/>
          <ac:spMkLst>
            <pc:docMk/>
            <pc:sldMk cId="1731173790" sldId="2147469851"/>
            <ac:spMk id="12" creationId="{5E5F8821-1AF3-5D35-DB8D-C4CD32B78490}"/>
          </ac:spMkLst>
        </pc:spChg>
        <pc:spChg chg="add mod">
          <ac:chgData name="Masuda, Yusuke 2" userId="89e8346c-0ffa-4e0a-bf4c-6fc819ed007b" providerId="ADAL" clId="{9288546F-35D6-4D52-BA48-A384361A391F}" dt="2026-05-19T04:44:57.067" v="34092" actId="554"/>
          <ac:spMkLst>
            <pc:docMk/>
            <pc:sldMk cId="1731173790" sldId="2147469851"/>
            <ac:spMk id="13" creationId="{416CD0B9-0B62-35B1-3C69-862E7413E68A}"/>
          </ac:spMkLst>
        </pc:spChg>
        <pc:spChg chg="add mod">
          <ac:chgData name="Masuda, Yusuke 2" userId="89e8346c-0ffa-4e0a-bf4c-6fc819ed007b" providerId="ADAL" clId="{9288546F-35D6-4D52-BA48-A384361A391F}" dt="2026-05-19T04:45:58.946" v="34134" actId="14100"/>
          <ac:spMkLst>
            <pc:docMk/>
            <pc:sldMk cId="1731173790" sldId="2147469851"/>
            <ac:spMk id="14" creationId="{F64D5ADE-0370-2B4F-C04D-9FD18A6FF88A}"/>
          </ac:spMkLst>
        </pc:spChg>
        <pc:spChg chg="add mod">
          <ac:chgData name="Masuda, Yusuke 2" userId="89e8346c-0ffa-4e0a-bf4c-6fc819ed007b" providerId="ADAL" clId="{9288546F-35D6-4D52-BA48-A384361A391F}" dt="2026-04-27T06:46:03.849" v="16346" actId="20577"/>
          <ac:spMkLst>
            <pc:docMk/>
            <pc:sldMk cId="1731173790" sldId="2147469851"/>
            <ac:spMk id="19" creationId="{24C7A1A0-76A0-4F4E-E8BD-E6F14D16693A}"/>
          </ac:spMkLst>
        </pc:spChg>
        <pc:spChg chg="add mod">
          <ac:chgData name="Masuda, Yusuke 2" userId="89e8346c-0ffa-4e0a-bf4c-6fc819ed007b" providerId="ADAL" clId="{9288546F-35D6-4D52-BA48-A384361A391F}" dt="2026-04-27T03:44:57.069" v="16238" actId="20577"/>
          <ac:spMkLst>
            <pc:docMk/>
            <pc:sldMk cId="1731173790" sldId="2147469851"/>
            <ac:spMk id="20" creationId="{5FBFBBEC-5664-765C-2CB7-3088E781719B}"/>
          </ac:spMkLst>
        </pc:spChg>
      </pc:sldChg>
      <pc:sldChg chg="addSp delSp modSp mod ord">
        <pc:chgData name="Masuda, Yusuke 2" userId="89e8346c-0ffa-4e0a-bf4c-6fc819ed007b" providerId="ADAL" clId="{9288546F-35D6-4D52-BA48-A384361A391F}" dt="2026-05-19T04:22:26.863" v="32285" actId="478"/>
        <pc:sldMkLst>
          <pc:docMk/>
          <pc:sldMk cId="643536875" sldId="2147469852"/>
        </pc:sldMkLst>
        <pc:spChg chg="add mod">
          <ac:chgData name="Masuda, Yusuke 2" userId="89e8346c-0ffa-4e0a-bf4c-6fc819ed007b" providerId="ADAL" clId="{9288546F-35D6-4D52-BA48-A384361A391F}" dt="2026-05-19T04:22:25.677" v="32284"/>
          <ac:spMkLst>
            <pc:docMk/>
            <pc:sldMk cId="643536875" sldId="2147469852"/>
            <ac:spMk id="4" creationId="{8EECE69D-E5DD-8F43-72DA-A418E3DC39A3}"/>
          </ac:spMkLst>
        </pc:spChg>
        <pc:spChg chg="mod">
          <ac:chgData name="Masuda, Yusuke 2" userId="89e8346c-0ffa-4e0a-bf4c-6fc819ed007b" providerId="ADAL" clId="{9288546F-35D6-4D52-BA48-A384361A391F}" dt="2026-04-27T07:02:19.255" v="16347"/>
          <ac:spMkLst>
            <pc:docMk/>
            <pc:sldMk cId="643536875" sldId="2147469852"/>
            <ac:spMk id="6" creationId="{775880AF-F605-C809-CBF9-07B208E2E556}"/>
          </ac:spMkLst>
        </pc:spChg>
        <pc:spChg chg="mod">
          <ac:chgData name="Masuda, Yusuke 2" userId="89e8346c-0ffa-4e0a-bf4c-6fc819ed007b" providerId="ADAL" clId="{9288546F-35D6-4D52-BA48-A384361A391F}" dt="2026-04-27T07:02:19.255" v="16347"/>
          <ac:spMkLst>
            <pc:docMk/>
            <pc:sldMk cId="643536875" sldId="2147469852"/>
            <ac:spMk id="7" creationId="{C6E37477-EEF2-69A8-5B44-06F9462CBC50}"/>
          </ac:spMkLst>
        </pc:spChg>
        <pc:spChg chg="mod">
          <ac:chgData name="Masuda, Yusuke 2" userId="89e8346c-0ffa-4e0a-bf4c-6fc819ed007b" providerId="ADAL" clId="{9288546F-35D6-4D52-BA48-A384361A391F}" dt="2026-04-27T07:02:19.255" v="16347"/>
          <ac:spMkLst>
            <pc:docMk/>
            <pc:sldMk cId="643536875" sldId="2147469852"/>
            <ac:spMk id="8" creationId="{C8673512-F6B3-3CA5-68B3-98AC5D3C12C2}"/>
          </ac:spMkLst>
        </pc:spChg>
        <pc:spChg chg="mod">
          <ac:chgData name="Masuda, Yusuke 2" userId="89e8346c-0ffa-4e0a-bf4c-6fc819ed007b" providerId="ADAL" clId="{9288546F-35D6-4D52-BA48-A384361A391F}" dt="2026-04-27T07:02:19.255" v="16347"/>
          <ac:spMkLst>
            <pc:docMk/>
            <pc:sldMk cId="643536875" sldId="2147469852"/>
            <ac:spMk id="9" creationId="{B37D3F77-6CE5-2CCE-2D25-AF7B727E3390}"/>
          </ac:spMkLst>
        </pc:spChg>
        <pc:spChg chg="mod">
          <ac:chgData name="Masuda, Yusuke 2" userId="89e8346c-0ffa-4e0a-bf4c-6fc819ed007b" providerId="ADAL" clId="{9288546F-35D6-4D52-BA48-A384361A391F}" dt="2026-04-27T07:02:19.255" v="16347"/>
          <ac:spMkLst>
            <pc:docMk/>
            <pc:sldMk cId="643536875" sldId="2147469852"/>
            <ac:spMk id="10" creationId="{83D42E9A-0939-C674-C5FE-EC9207A0531B}"/>
          </ac:spMkLst>
        </pc:spChg>
        <pc:spChg chg="mod">
          <ac:chgData name="Masuda, Yusuke 2" userId="89e8346c-0ffa-4e0a-bf4c-6fc819ed007b" providerId="ADAL" clId="{9288546F-35D6-4D52-BA48-A384361A391F}" dt="2026-04-27T07:02:19.255" v="16347"/>
          <ac:spMkLst>
            <pc:docMk/>
            <pc:sldMk cId="643536875" sldId="2147469852"/>
            <ac:spMk id="11" creationId="{47B86177-AFD5-F49D-10D0-F40C723A1349}"/>
          </ac:spMkLst>
        </pc:spChg>
        <pc:spChg chg="mod">
          <ac:chgData name="Masuda, Yusuke 2" userId="89e8346c-0ffa-4e0a-bf4c-6fc819ed007b" providerId="ADAL" clId="{9288546F-35D6-4D52-BA48-A384361A391F}" dt="2026-04-27T07:02:19.255" v="16347"/>
          <ac:spMkLst>
            <pc:docMk/>
            <pc:sldMk cId="643536875" sldId="2147469852"/>
            <ac:spMk id="12" creationId="{18773FCC-1BE7-2D8F-BB36-62FCD523B15E}"/>
          </ac:spMkLst>
        </pc:spChg>
        <pc:spChg chg="add mod">
          <ac:chgData name="Masuda, Yusuke 2" userId="89e8346c-0ffa-4e0a-bf4c-6fc819ed007b" providerId="ADAL" clId="{9288546F-35D6-4D52-BA48-A384361A391F}" dt="2026-04-27T03:45:37.989" v="16293" actId="1035"/>
          <ac:spMkLst>
            <pc:docMk/>
            <pc:sldMk cId="643536875" sldId="2147469852"/>
            <ac:spMk id="13" creationId="{A597B051-4AF2-80C8-0AFC-78E5AFF348A2}"/>
          </ac:spMkLst>
        </pc:spChg>
        <pc:spChg chg="add mod">
          <ac:chgData name="Masuda, Yusuke 2" userId="89e8346c-0ffa-4e0a-bf4c-6fc819ed007b" providerId="ADAL" clId="{9288546F-35D6-4D52-BA48-A384361A391F}" dt="2026-05-15T02:53:40.384" v="18747"/>
          <ac:spMkLst>
            <pc:docMk/>
            <pc:sldMk cId="643536875" sldId="2147469852"/>
            <ac:spMk id="14" creationId="{4A9D4388-7782-DA92-2327-CC6420266538}"/>
          </ac:spMkLst>
        </pc:spChg>
        <pc:spChg chg="add del mod">
          <ac:chgData name="Masuda, Yusuke 2" userId="89e8346c-0ffa-4e0a-bf4c-6fc819ed007b" providerId="ADAL" clId="{9288546F-35D6-4D52-BA48-A384361A391F}" dt="2026-05-19T04:22:26.863" v="32285" actId="478"/>
          <ac:spMkLst>
            <pc:docMk/>
            <pc:sldMk cId="643536875" sldId="2147469852"/>
            <ac:spMk id="15" creationId="{7C11E2CA-E2A5-6687-2454-F0CA8B4F6299}"/>
          </ac:spMkLst>
        </pc:spChg>
        <pc:spChg chg="mod">
          <ac:chgData name="Masuda, Yusuke 2" userId="89e8346c-0ffa-4e0a-bf4c-6fc819ed007b" providerId="ADAL" clId="{9288546F-35D6-4D52-BA48-A384361A391F}" dt="2026-04-27T07:02:19.255" v="16347"/>
          <ac:spMkLst>
            <pc:docMk/>
            <pc:sldMk cId="643536875" sldId="2147469852"/>
            <ac:spMk id="17" creationId="{5D76B838-2F95-2D04-A594-C4C2777CF287}"/>
          </ac:spMkLst>
        </pc:spChg>
        <pc:spChg chg="add del mod">
          <ac:chgData name="Masuda, Yusuke 2" userId="89e8346c-0ffa-4e0a-bf4c-6fc819ed007b" providerId="ADAL" clId="{9288546F-35D6-4D52-BA48-A384361A391F}" dt="2026-05-19T04:22:24.164" v="32283"/>
          <ac:spMkLst>
            <pc:docMk/>
            <pc:sldMk cId="643536875" sldId="2147469852"/>
            <ac:spMk id="20" creationId="{42253785-24AC-76F9-EA24-0B4216571BB9}"/>
          </ac:spMkLst>
        </pc:spChg>
        <pc:spChg chg="mod topLvl">
          <ac:chgData name="Masuda, Yusuke 2" userId="89e8346c-0ffa-4e0a-bf4c-6fc819ed007b" providerId="ADAL" clId="{9288546F-35D6-4D52-BA48-A384361A391F}" dt="2026-04-22T07:12:48.363" v="6594" actId="165"/>
          <ac:spMkLst>
            <pc:docMk/>
            <pc:sldMk cId="643536875" sldId="2147469852"/>
            <ac:spMk id="24" creationId="{7FE2C231-67BB-0576-30E4-D8EA047BA267}"/>
          </ac:spMkLst>
        </pc:spChg>
        <pc:spChg chg="mod">
          <ac:chgData name="Masuda, Yusuke 2" userId="89e8346c-0ffa-4e0a-bf4c-6fc819ed007b" providerId="ADAL" clId="{9288546F-35D6-4D52-BA48-A384361A391F}" dt="2026-04-22T07:12:48.363" v="6594" actId="165"/>
          <ac:spMkLst>
            <pc:docMk/>
            <pc:sldMk cId="643536875" sldId="2147469852"/>
            <ac:spMk id="25" creationId="{CA7C90F7-09BD-B065-6D7E-F87C34D789D9}"/>
          </ac:spMkLst>
        </pc:spChg>
        <pc:spChg chg="mod topLvl">
          <ac:chgData name="Masuda, Yusuke 2" userId="89e8346c-0ffa-4e0a-bf4c-6fc819ed007b" providerId="ADAL" clId="{9288546F-35D6-4D52-BA48-A384361A391F}" dt="2026-04-22T07:12:48.363" v="6594" actId="165"/>
          <ac:spMkLst>
            <pc:docMk/>
            <pc:sldMk cId="643536875" sldId="2147469852"/>
            <ac:spMk id="26" creationId="{81145AF6-CAB9-D1BC-9605-4CA01F349A30}"/>
          </ac:spMkLst>
        </pc:spChg>
        <pc:spChg chg="mod topLvl">
          <ac:chgData name="Masuda, Yusuke 2" userId="89e8346c-0ffa-4e0a-bf4c-6fc819ed007b" providerId="ADAL" clId="{9288546F-35D6-4D52-BA48-A384361A391F}" dt="2026-04-22T07:12:48.363" v="6594" actId="165"/>
          <ac:spMkLst>
            <pc:docMk/>
            <pc:sldMk cId="643536875" sldId="2147469852"/>
            <ac:spMk id="39" creationId="{FC91522E-FA7A-6F4F-F61B-F4D293519107}"/>
          </ac:spMkLst>
        </pc:spChg>
        <pc:spChg chg="mod topLvl">
          <ac:chgData name="Masuda, Yusuke 2" userId="89e8346c-0ffa-4e0a-bf4c-6fc819ed007b" providerId="ADAL" clId="{9288546F-35D6-4D52-BA48-A384361A391F}" dt="2026-04-22T07:12:46.010" v="6593" actId="165"/>
          <ac:spMkLst>
            <pc:docMk/>
            <pc:sldMk cId="643536875" sldId="2147469852"/>
            <ac:spMk id="40" creationId="{EEE7070F-99DB-416C-A3C7-629014FF49CB}"/>
          </ac:spMkLst>
        </pc:spChg>
        <pc:spChg chg="mod topLvl">
          <ac:chgData name="Masuda, Yusuke 2" userId="89e8346c-0ffa-4e0a-bf4c-6fc819ed007b" providerId="ADAL" clId="{9288546F-35D6-4D52-BA48-A384361A391F}" dt="2026-04-22T07:12:48.363" v="6594" actId="165"/>
          <ac:spMkLst>
            <pc:docMk/>
            <pc:sldMk cId="643536875" sldId="2147469852"/>
            <ac:spMk id="41" creationId="{A4540B49-FC01-0E20-21CE-3B9F70544636}"/>
          </ac:spMkLst>
        </pc:spChg>
        <pc:spChg chg="add mod">
          <ac:chgData name="Masuda, Yusuke 2" userId="89e8346c-0ffa-4e0a-bf4c-6fc819ed007b" providerId="ADAL" clId="{9288546F-35D6-4D52-BA48-A384361A391F}" dt="2026-04-27T03:45:00.505" v="16242" actId="20577"/>
          <ac:spMkLst>
            <pc:docMk/>
            <pc:sldMk cId="643536875" sldId="2147469852"/>
            <ac:spMk id="51" creationId="{2B3D7190-42DB-275A-8B35-5F660ACBB4AF}"/>
          </ac:spMkLst>
        </pc:spChg>
        <pc:grpChg chg="mod">
          <ac:chgData name="Masuda, Yusuke 2" userId="89e8346c-0ffa-4e0a-bf4c-6fc819ed007b" providerId="ADAL" clId="{9288546F-35D6-4D52-BA48-A384361A391F}" dt="2026-04-27T07:02:25.011" v="16369" actId="1036"/>
          <ac:grpSpMkLst>
            <pc:docMk/>
            <pc:sldMk cId="643536875" sldId="2147469852"/>
            <ac:grpSpMk id="5" creationId="{2C68C1AF-B621-773F-F623-3DFCEB6A4A19}"/>
          </ac:grpSpMkLst>
        </pc:grpChg>
        <pc:grpChg chg="mod">
          <ac:chgData name="Masuda, Yusuke 2" userId="89e8346c-0ffa-4e0a-bf4c-6fc819ed007b" providerId="ADAL" clId="{9288546F-35D6-4D52-BA48-A384361A391F}" dt="2026-04-27T03:45:37.989" v="16293" actId="1035"/>
          <ac:grpSpMkLst>
            <pc:docMk/>
            <pc:sldMk cId="643536875" sldId="2147469852"/>
            <ac:grpSpMk id="22" creationId="{FB5456F1-A9D9-7C6C-CED1-B67176FC9B68}"/>
          </ac:grpSpMkLst>
        </pc:grpChg>
        <pc:graphicFrameChg chg="add mod modGraphic">
          <ac:chgData name="Masuda, Yusuke 2" userId="89e8346c-0ffa-4e0a-bf4c-6fc819ed007b" providerId="ADAL" clId="{9288546F-35D6-4D52-BA48-A384361A391F}" dt="2026-04-27T07:02:40.597" v="16386" actId="20577"/>
          <ac:graphicFrameMkLst>
            <pc:docMk/>
            <pc:sldMk cId="643536875" sldId="2147469852"/>
            <ac:graphicFrameMk id="3" creationId="{76B253C7-62B0-6D57-21E1-C793151063E4}"/>
          </ac:graphicFrameMkLst>
        </pc:graphicFrameChg>
        <pc:graphicFrameChg chg="mod modGraphic">
          <ac:chgData name="Masuda, Yusuke 2" userId="89e8346c-0ffa-4e0a-bf4c-6fc819ed007b" providerId="ADAL" clId="{9288546F-35D6-4D52-BA48-A384361A391F}" dt="2026-04-27T03:45:37.989" v="16293" actId="1035"/>
          <ac:graphicFrameMkLst>
            <pc:docMk/>
            <pc:sldMk cId="643536875" sldId="2147469852"/>
            <ac:graphicFrameMk id="18" creationId="{47DB6B21-6B7C-BB47-B8F7-E98FD33B05D0}"/>
          </ac:graphicFrameMkLst>
        </pc:graphicFrameChg>
      </pc:sldChg>
      <pc:sldChg chg="addSp delSp modSp mod ord">
        <pc:chgData name="Masuda, Yusuke 2" userId="89e8346c-0ffa-4e0a-bf4c-6fc819ed007b" providerId="ADAL" clId="{9288546F-35D6-4D52-BA48-A384361A391F}" dt="2026-05-20T04:46:20.874" v="34892" actId="13926"/>
        <pc:sldMkLst>
          <pc:docMk/>
          <pc:sldMk cId="1975620144" sldId="2147469853"/>
        </pc:sldMkLst>
        <pc:spChg chg="mod">
          <ac:chgData name="Masuda, Yusuke 2" userId="89e8346c-0ffa-4e0a-bf4c-6fc819ed007b" providerId="ADAL" clId="{9288546F-35D6-4D52-BA48-A384361A391F}" dt="2026-04-27T03:51:59.357" v="16316" actId="20577"/>
          <ac:spMkLst>
            <pc:docMk/>
            <pc:sldMk cId="1975620144" sldId="2147469853"/>
            <ac:spMk id="4" creationId="{2EA7B675-4EF3-F78C-D520-5B7849CE4D3D}"/>
          </ac:spMkLst>
        </pc:spChg>
        <pc:spChg chg="add mod">
          <ac:chgData name="Masuda, Yusuke 2" userId="89e8346c-0ffa-4e0a-bf4c-6fc819ed007b" providerId="ADAL" clId="{9288546F-35D6-4D52-BA48-A384361A391F}" dt="2026-05-20T04:46:20.874" v="34892" actId="13926"/>
          <ac:spMkLst>
            <pc:docMk/>
            <pc:sldMk cId="1975620144" sldId="2147469853"/>
            <ac:spMk id="6" creationId="{CD2BF7ED-833C-D49E-446C-A659B9D222DF}"/>
          </ac:spMkLst>
        </pc:spChg>
        <pc:spChg chg="add mod">
          <ac:chgData name="Masuda, Yusuke 2" userId="89e8346c-0ffa-4e0a-bf4c-6fc819ed007b" providerId="ADAL" clId="{9288546F-35D6-4D52-BA48-A384361A391F}" dt="2026-05-18T08:44:24.468" v="20974" actId="1036"/>
          <ac:spMkLst>
            <pc:docMk/>
            <pc:sldMk cId="1975620144" sldId="2147469853"/>
            <ac:spMk id="9" creationId="{2FDACE65-9267-2B5B-48EE-929C12B788AD}"/>
          </ac:spMkLst>
        </pc:spChg>
        <pc:spChg chg="add mod">
          <ac:chgData name="Masuda, Yusuke 2" userId="89e8346c-0ffa-4e0a-bf4c-6fc819ed007b" providerId="ADAL" clId="{9288546F-35D6-4D52-BA48-A384361A391F}" dt="2026-05-18T08:44:24.468" v="20974" actId="1036"/>
          <ac:spMkLst>
            <pc:docMk/>
            <pc:sldMk cId="1975620144" sldId="2147469853"/>
            <ac:spMk id="10" creationId="{9963154D-B398-CED1-4D22-6A91876C922D}"/>
          </ac:spMkLst>
        </pc:spChg>
        <pc:spChg chg="add mod">
          <ac:chgData name="Masuda, Yusuke 2" userId="89e8346c-0ffa-4e0a-bf4c-6fc819ed007b" providerId="ADAL" clId="{9288546F-35D6-4D52-BA48-A384361A391F}" dt="2026-05-18T08:36:33.367" v="20301" actId="1035"/>
          <ac:spMkLst>
            <pc:docMk/>
            <pc:sldMk cId="1975620144" sldId="2147469853"/>
            <ac:spMk id="11" creationId="{3A893B0D-745F-5472-8402-10A6DE3D36F4}"/>
          </ac:spMkLst>
        </pc:spChg>
        <pc:spChg chg="add mod">
          <ac:chgData name="Masuda, Yusuke 2" userId="89e8346c-0ffa-4e0a-bf4c-6fc819ed007b" providerId="ADAL" clId="{9288546F-35D6-4D52-BA48-A384361A391F}" dt="2026-05-18T08:36:30.067" v="20295" actId="1035"/>
          <ac:spMkLst>
            <pc:docMk/>
            <pc:sldMk cId="1975620144" sldId="2147469853"/>
            <ac:spMk id="12" creationId="{96EADF50-515E-B518-D798-62FDADD980B7}"/>
          </ac:spMkLst>
        </pc:spChg>
        <pc:spChg chg="add mod">
          <ac:chgData name="Masuda, Yusuke 2" userId="89e8346c-0ffa-4e0a-bf4c-6fc819ed007b" providerId="ADAL" clId="{9288546F-35D6-4D52-BA48-A384361A391F}" dt="2026-05-18T08:36:37.161" v="20305" actId="1036"/>
          <ac:spMkLst>
            <pc:docMk/>
            <pc:sldMk cId="1975620144" sldId="2147469853"/>
            <ac:spMk id="13" creationId="{2D6B06BD-6D9A-894C-E959-96562F4FD6E9}"/>
          </ac:spMkLst>
        </pc:spChg>
        <pc:spChg chg="add mod">
          <ac:chgData name="Masuda, Yusuke 2" userId="89e8346c-0ffa-4e0a-bf4c-6fc819ed007b" providerId="ADAL" clId="{9288546F-35D6-4D52-BA48-A384361A391F}" dt="2026-05-15T02:47:00.002" v="18701" actId="207"/>
          <ac:spMkLst>
            <pc:docMk/>
            <pc:sldMk cId="1975620144" sldId="2147469853"/>
            <ac:spMk id="16" creationId="{2A7BE7FA-95A7-739B-B205-E9228FFC9844}"/>
          </ac:spMkLst>
        </pc:spChg>
        <pc:spChg chg="add del mod">
          <ac:chgData name="Masuda, Yusuke 2" userId="89e8346c-0ffa-4e0a-bf4c-6fc819ed007b" providerId="ADAL" clId="{9288546F-35D6-4D52-BA48-A384361A391F}" dt="2026-05-20T04:46:16.698" v="34891" actId="478"/>
          <ac:spMkLst>
            <pc:docMk/>
            <pc:sldMk cId="1975620144" sldId="2147469853"/>
            <ac:spMk id="20" creationId="{212C6543-816D-859F-E61D-E07707D13674}"/>
          </ac:spMkLst>
        </pc:spChg>
        <pc:spChg chg="mod">
          <ac:chgData name="Masuda, Yusuke 2" userId="89e8346c-0ffa-4e0a-bf4c-6fc819ed007b" providerId="ADAL" clId="{9288546F-35D6-4D52-BA48-A384361A391F}" dt="2026-05-18T08:39:08.114" v="20457" actId="20577"/>
          <ac:spMkLst>
            <pc:docMk/>
            <pc:sldMk cId="1975620144" sldId="2147469853"/>
            <ac:spMk id="41" creationId="{23FEEE34-7644-CD54-7BB2-AAB47079A683}"/>
          </ac:spMkLst>
        </pc:spChg>
        <pc:spChg chg="mod">
          <ac:chgData name="Masuda, Yusuke 2" userId="89e8346c-0ffa-4e0a-bf4c-6fc819ed007b" providerId="ADAL" clId="{9288546F-35D6-4D52-BA48-A384361A391F}" dt="2026-05-20T01:32:09.118" v="34629" actId="207"/>
          <ac:spMkLst>
            <pc:docMk/>
            <pc:sldMk cId="1975620144" sldId="2147469853"/>
            <ac:spMk id="42" creationId="{1CD45461-6360-F378-B7FE-FC313445C9CE}"/>
          </ac:spMkLst>
        </pc:spChg>
        <pc:spChg chg="mod">
          <ac:chgData name="Masuda, Yusuke 2" userId="89e8346c-0ffa-4e0a-bf4c-6fc819ed007b" providerId="ADAL" clId="{9288546F-35D6-4D52-BA48-A384361A391F}" dt="2026-05-18T08:44:24.468" v="20974" actId="1036"/>
          <ac:spMkLst>
            <pc:docMk/>
            <pc:sldMk cId="1975620144" sldId="2147469853"/>
            <ac:spMk id="43" creationId="{A684F8C9-2A6C-FA17-0FEA-B2210C88896E}"/>
          </ac:spMkLst>
        </pc:spChg>
        <pc:spChg chg="mod">
          <ac:chgData name="Masuda, Yusuke 2" userId="89e8346c-0ffa-4e0a-bf4c-6fc819ed007b" providerId="ADAL" clId="{9288546F-35D6-4D52-BA48-A384361A391F}" dt="2026-05-19T04:40:57.512" v="33781" actId="3064"/>
          <ac:spMkLst>
            <pc:docMk/>
            <pc:sldMk cId="1975620144" sldId="2147469853"/>
            <ac:spMk id="44" creationId="{DFEAE316-BF0F-386E-50A3-AEC1DFD76DC6}"/>
          </ac:spMkLst>
        </pc:spChg>
        <pc:spChg chg="mod topLvl">
          <ac:chgData name="Masuda, Yusuke 2" userId="89e8346c-0ffa-4e0a-bf4c-6fc819ed007b" providerId="ADAL" clId="{9288546F-35D6-4D52-BA48-A384361A391F}" dt="2026-05-19T04:41:07.410" v="33790" actId="20577"/>
          <ac:spMkLst>
            <pc:docMk/>
            <pc:sldMk cId="1975620144" sldId="2147469853"/>
            <ac:spMk id="45" creationId="{DF9730C9-4EDE-C346-C6AB-B8311E00C3F2}"/>
          </ac:spMkLst>
        </pc:spChg>
        <pc:spChg chg="add mod ord">
          <ac:chgData name="Masuda, Yusuke 2" userId="89e8346c-0ffa-4e0a-bf4c-6fc819ed007b" providerId="ADAL" clId="{9288546F-35D6-4D52-BA48-A384361A391F}" dt="2026-04-24T10:02:30.119" v="15658" actId="167"/>
          <ac:spMkLst>
            <pc:docMk/>
            <pc:sldMk cId="1975620144" sldId="2147469853"/>
            <ac:spMk id="70" creationId="{2653E610-D783-B676-9C4D-9F2741D22BEC}"/>
          </ac:spMkLst>
        </pc:spChg>
        <pc:spChg chg="add mod topLvl">
          <ac:chgData name="Masuda, Yusuke 2" userId="89e8346c-0ffa-4e0a-bf4c-6fc819ed007b" providerId="ADAL" clId="{9288546F-35D6-4D52-BA48-A384361A391F}" dt="2026-05-19T04:41:08.627" v="33792"/>
          <ac:spMkLst>
            <pc:docMk/>
            <pc:sldMk cId="1975620144" sldId="2147469853"/>
            <ac:spMk id="71" creationId="{89F20FCE-68FC-13EA-5384-74B3BA84A493}"/>
          </ac:spMkLst>
        </pc:spChg>
        <pc:spChg chg="add mod topLvl">
          <ac:chgData name="Masuda, Yusuke 2" userId="89e8346c-0ffa-4e0a-bf4c-6fc819ed007b" providerId="ADAL" clId="{9288546F-35D6-4D52-BA48-A384361A391F}" dt="2026-05-19T04:40:57.512" v="33781" actId="3064"/>
          <ac:spMkLst>
            <pc:docMk/>
            <pc:sldMk cId="1975620144" sldId="2147469853"/>
            <ac:spMk id="73" creationId="{7985FC95-1DB1-4BDD-F4D0-CB0CA9BF14E7}"/>
          </ac:spMkLst>
        </pc:spChg>
        <pc:spChg chg="add mod">
          <ac:chgData name="Masuda, Yusuke 2" userId="89e8346c-0ffa-4e0a-bf4c-6fc819ed007b" providerId="ADAL" clId="{9288546F-35D6-4D52-BA48-A384361A391F}" dt="2026-05-18T08:36:30.067" v="20295" actId="1035"/>
          <ac:spMkLst>
            <pc:docMk/>
            <pc:sldMk cId="1975620144" sldId="2147469853"/>
            <ac:spMk id="74" creationId="{0F0EF4F7-4F71-CD50-819A-1954927EA78D}"/>
          </ac:spMkLst>
        </pc:spChg>
        <pc:spChg chg="add mod">
          <ac:chgData name="Masuda, Yusuke 2" userId="89e8346c-0ffa-4e0a-bf4c-6fc819ed007b" providerId="ADAL" clId="{9288546F-35D6-4D52-BA48-A384361A391F}" dt="2026-05-18T08:44:24.468" v="20974" actId="1036"/>
          <ac:spMkLst>
            <pc:docMk/>
            <pc:sldMk cId="1975620144" sldId="2147469853"/>
            <ac:spMk id="75" creationId="{C512A9B4-F92F-F62F-1AA6-F58777974D47}"/>
          </ac:spMkLst>
        </pc:spChg>
        <pc:spChg chg="add mod topLvl">
          <ac:chgData name="Masuda, Yusuke 2" userId="89e8346c-0ffa-4e0a-bf4c-6fc819ed007b" providerId="ADAL" clId="{9288546F-35D6-4D52-BA48-A384361A391F}" dt="2026-05-19T04:40:57.512" v="33781" actId="3064"/>
          <ac:spMkLst>
            <pc:docMk/>
            <pc:sldMk cId="1975620144" sldId="2147469853"/>
            <ac:spMk id="76" creationId="{D2DDD28B-9CD5-B2B4-1327-B90D1F43BB2D}"/>
          </ac:spMkLst>
        </pc:spChg>
        <pc:spChg chg="add mod topLvl">
          <ac:chgData name="Masuda, Yusuke 2" userId="89e8346c-0ffa-4e0a-bf4c-6fc819ed007b" providerId="ADAL" clId="{9288546F-35D6-4D52-BA48-A384361A391F}" dt="2026-05-18T08:44:24.468" v="20974" actId="1036"/>
          <ac:spMkLst>
            <pc:docMk/>
            <pc:sldMk cId="1975620144" sldId="2147469853"/>
            <ac:spMk id="77" creationId="{8276FE99-6A30-6508-222B-3553D65F5612}"/>
          </ac:spMkLst>
        </pc:spChg>
        <pc:spChg chg="add mod">
          <ac:chgData name="Masuda, Yusuke 2" userId="89e8346c-0ffa-4e0a-bf4c-6fc819ed007b" providerId="ADAL" clId="{9288546F-35D6-4D52-BA48-A384361A391F}" dt="2026-05-18T08:44:24.468" v="20974" actId="1036"/>
          <ac:spMkLst>
            <pc:docMk/>
            <pc:sldMk cId="1975620144" sldId="2147469853"/>
            <ac:spMk id="78" creationId="{35251794-27A9-08AD-27CE-CB1130875FE8}"/>
          </ac:spMkLst>
        </pc:spChg>
        <pc:spChg chg="add mod topLvl">
          <ac:chgData name="Masuda, Yusuke 2" userId="89e8346c-0ffa-4e0a-bf4c-6fc819ed007b" providerId="ADAL" clId="{9288546F-35D6-4D52-BA48-A384361A391F}" dt="2026-05-19T04:40:57.512" v="33781" actId="3064"/>
          <ac:spMkLst>
            <pc:docMk/>
            <pc:sldMk cId="1975620144" sldId="2147469853"/>
            <ac:spMk id="79" creationId="{E9417BE4-EE15-8AC2-1E22-FBF2BA1C9ED8}"/>
          </ac:spMkLst>
        </pc:spChg>
        <pc:spChg chg="add del mod topLvl">
          <ac:chgData name="Masuda, Yusuke 2" userId="89e8346c-0ffa-4e0a-bf4c-6fc819ed007b" providerId="ADAL" clId="{9288546F-35D6-4D52-BA48-A384361A391F}" dt="2026-05-18T08:44:24.468" v="20974" actId="1036"/>
          <ac:spMkLst>
            <pc:docMk/>
            <pc:sldMk cId="1975620144" sldId="2147469853"/>
            <ac:spMk id="80" creationId="{F5AE08F8-8250-78AC-A7C7-7FDD241FA0C3}"/>
          </ac:spMkLst>
        </pc:spChg>
        <pc:spChg chg="add mod topLvl">
          <ac:chgData name="Masuda, Yusuke 2" userId="89e8346c-0ffa-4e0a-bf4c-6fc819ed007b" providerId="ADAL" clId="{9288546F-35D6-4D52-BA48-A384361A391F}" dt="2026-05-18T08:36:37.161" v="20305" actId="1036"/>
          <ac:spMkLst>
            <pc:docMk/>
            <pc:sldMk cId="1975620144" sldId="2147469853"/>
            <ac:spMk id="81" creationId="{28678DF2-6F8F-86C3-408F-554DF0C27EC1}"/>
          </ac:spMkLst>
        </pc:spChg>
        <pc:spChg chg="add mod">
          <ac:chgData name="Masuda, Yusuke 2" userId="89e8346c-0ffa-4e0a-bf4c-6fc819ed007b" providerId="ADAL" clId="{9288546F-35D6-4D52-BA48-A384361A391F}" dt="2026-04-22T07:44:37.874" v="8065" actId="113"/>
          <ac:spMkLst>
            <pc:docMk/>
            <pc:sldMk cId="1975620144" sldId="2147469853"/>
            <ac:spMk id="85" creationId="{95AEE957-8B7C-FA71-14EE-C5628767876C}"/>
          </ac:spMkLst>
        </pc:spChg>
        <pc:spChg chg="add mod">
          <ac:chgData name="Masuda, Yusuke 2" userId="89e8346c-0ffa-4e0a-bf4c-6fc819ed007b" providerId="ADAL" clId="{9288546F-35D6-4D52-BA48-A384361A391F}" dt="2026-04-22T07:39:59.633" v="7847" actId="164"/>
          <ac:spMkLst>
            <pc:docMk/>
            <pc:sldMk cId="1975620144" sldId="2147469853"/>
            <ac:spMk id="86" creationId="{DF3146EE-7156-6A28-B604-A7A9C6206419}"/>
          </ac:spMkLst>
        </pc:spChg>
        <pc:spChg chg="add mod">
          <ac:chgData name="Masuda, Yusuke 2" userId="89e8346c-0ffa-4e0a-bf4c-6fc819ed007b" providerId="ADAL" clId="{9288546F-35D6-4D52-BA48-A384361A391F}" dt="2026-04-22T07:39:59.633" v="7847" actId="164"/>
          <ac:spMkLst>
            <pc:docMk/>
            <pc:sldMk cId="1975620144" sldId="2147469853"/>
            <ac:spMk id="87" creationId="{CDFA8CD1-C5F6-BBE2-E698-05CA5C7C727C}"/>
          </ac:spMkLst>
        </pc:spChg>
        <pc:spChg chg="add mod">
          <ac:chgData name="Masuda, Yusuke 2" userId="89e8346c-0ffa-4e0a-bf4c-6fc819ed007b" providerId="ADAL" clId="{9288546F-35D6-4D52-BA48-A384361A391F}" dt="2026-04-22T07:44:29.326" v="8064" actId="20577"/>
          <ac:spMkLst>
            <pc:docMk/>
            <pc:sldMk cId="1975620144" sldId="2147469853"/>
            <ac:spMk id="88" creationId="{CE3CE739-46E5-9F10-0135-C0646D73866C}"/>
          </ac:spMkLst>
        </pc:spChg>
        <pc:spChg chg="add mod">
          <ac:chgData name="Masuda, Yusuke 2" userId="89e8346c-0ffa-4e0a-bf4c-6fc819ed007b" providerId="ADAL" clId="{9288546F-35D6-4D52-BA48-A384361A391F}" dt="2026-04-22T07:39:59.633" v="7847" actId="164"/>
          <ac:spMkLst>
            <pc:docMk/>
            <pc:sldMk cId="1975620144" sldId="2147469853"/>
            <ac:spMk id="89" creationId="{12FAECC4-B7C5-A0EC-0EB7-FBB530692993}"/>
          </ac:spMkLst>
        </pc:spChg>
        <pc:spChg chg="add mod">
          <ac:chgData name="Masuda, Yusuke 2" userId="89e8346c-0ffa-4e0a-bf4c-6fc819ed007b" providerId="ADAL" clId="{9288546F-35D6-4D52-BA48-A384361A391F}" dt="2026-04-22T07:39:59.633" v="7847" actId="164"/>
          <ac:spMkLst>
            <pc:docMk/>
            <pc:sldMk cId="1975620144" sldId="2147469853"/>
            <ac:spMk id="90" creationId="{18FC6E76-1A2C-91E3-3FFC-FB0CACE8CE5C}"/>
          </ac:spMkLst>
        </pc:spChg>
        <pc:spChg chg="add mod">
          <ac:chgData name="Masuda, Yusuke 2" userId="89e8346c-0ffa-4e0a-bf4c-6fc819ed007b" providerId="ADAL" clId="{9288546F-35D6-4D52-BA48-A384361A391F}" dt="2026-04-22T07:39:59.633" v="7847" actId="164"/>
          <ac:spMkLst>
            <pc:docMk/>
            <pc:sldMk cId="1975620144" sldId="2147469853"/>
            <ac:spMk id="91" creationId="{B7A8A1AE-D605-40F5-8F92-F0B7AEC15E2F}"/>
          </ac:spMkLst>
        </pc:spChg>
        <pc:spChg chg="add mod ord">
          <ac:chgData name="Masuda, Yusuke 2" userId="89e8346c-0ffa-4e0a-bf4c-6fc819ed007b" providerId="ADAL" clId="{9288546F-35D6-4D52-BA48-A384361A391F}" dt="2026-04-22T07:44:17.504" v="8051" actId="14100"/>
          <ac:spMkLst>
            <pc:docMk/>
            <pc:sldMk cId="1975620144" sldId="2147469853"/>
            <ac:spMk id="93" creationId="{B41AA6BD-0A08-7B77-4269-D76C942D13FD}"/>
          </ac:spMkLst>
        </pc:spChg>
        <pc:spChg chg="add mod">
          <ac:chgData name="Masuda, Yusuke 2" userId="89e8346c-0ffa-4e0a-bf4c-6fc819ed007b" providerId="ADAL" clId="{9288546F-35D6-4D52-BA48-A384361A391F}" dt="2026-05-18T08:37:19.702" v="20330" actId="207"/>
          <ac:spMkLst>
            <pc:docMk/>
            <pc:sldMk cId="1975620144" sldId="2147469853"/>
            <ac:spMk id="118" creationId="{7622895F-89F9-8B83-7F57-55F23E56C944}"/>
          </ac:spMkLst>
        </pc:spChg>
        <pc:spChg chg="add mod topLvl">
          <ac:chgData name="Masuda, Yusuke 2" userId="89e8346c-0ffa-4e0a-bf4c-6fc819ed007b" providerId="ADAL" clId="{9288546F-35D6-4D52-BA48-A384361A391F}" dt="2026-05-18T08:37:32.744" v="20340" actId="20577"/>
          <ac:spMkLst>
            <pc:docMk/>
            <pc:sldMk cId="1975620144" sldId="2147469853"/>
            <ac:spMk id="119" creationId="{939CA334-5573-EF5A-0710-BCBD90A9AD98}"/>
          </ac:spMkLst>
        </pc:spChg>
        <pc:spChg chg="add mod">
          <ac:chgData name="Masuda, Yusuke 2" userId="89e8346c-0ffa-4e0a-bf4c-6fc819ed007b" providerId="ADAL" clId="{9288546F-35D6-4D52-BA48-A384361A391F}" dt="2026-05-18T08:37:26.362" v="20335" actId="20577"/>
          <ac:spMkLst>
            <pc:docMk/>
            <pc:sldMk cId="1975620144" sldId="2147469853"/>
            <ac:spMk id="120" creationId="{60C456F9-74EE-1213-8846-A3C4111671A2}"/>
          </ac:spMkLst>
        </pc:spChg>
        <pc:spChg chg="add mod topLvl">
          <ac:chgData name="Masuda, Yusuke 2" userId="89e8346c-0ffa-4e0a-bf4c-6fc819ed007b" providerId="ADAL" clId="{9288546F-35D6-4D52-BA48-A384361A391F}" dt="2026-05-18T08:37:36.704" v="20345" actId="20577"/>
          <ac:spMkLst>
            <pc:docMk/>
            <pc:sldMk cId="1975620144" sldId="2147469853"/>
            <ac:spMk id="121" creationId="{057FCE4F-BB70-1CF2-FFFB-1B16EE7BE2FD}"/>
          </ac:spMkLst>
        </pc:spChg>
        <pc:spChg chg="add mod">
          <ac:chgData name="Masuda, Yusuke 2" userId="89e8346c-0ffa-4e0a-bf4c-6fc819ed007b" providerId="ADAL" clId="{9288546F-35D6-4D52-BA48-A384361A391F}" dt="2026-05-18T08:35:47.738" v="20268" actId="1036"/>
          <ac:spMkLst>
            <pc:docMk/>
            <pc:sldMk cId="1975620144" sldId="2147469853"/>
            <ac:spMk id="122" creationId="{39E31B3F-BCCE-CBBC-E884-EED0B2DD2CF5}"/>
          </ac:spMkLst>
        </pc:spChg>
        <pc:grpChg chg="add mod">
          <ac:chgData name="Masuda, Yusuke 2" userId="89e8346c-0ffa-4e0a-bf4c-6fc819ed007b" providerId="ADAL" clId="{9288546F-35D6-4D52-BA48-A384361A391F}" dt="2026-05-18T08:35:47.738" v="20268" actId="1036"/>
          <ac:grpSpMkLst>
            <pc:docMk/>
            <pc:sldMk cId="1975620144" sldId="2147469853"/>
            <ac:grpSpMk id="94" creationId="{B863293A-F42E-4AF0-5B1B-858C70C03E4A}"/>
          </ac:grpSpMkLst>
        </pc:grpChg>
        <pc:cxnChg chg="add mod">
          <ac:chgData name="Masuda, Yusuke 2" userId="89e8346c-0ffa-4e0a-bf4c-6fc819ed007b" providerId="ADAL" clId="{9288546F-35D6-4D52-BA48-A384361A391F}" dt="2026-04-22T07:39:16.250" v="7837" actId="1582"/>
          <ac:cxnSpMkLst>
            <pc:docMk/>
            <pc:sldMk cId="1975620144" sldId="2147469853"/>
            <ac:cxnSpMk id="84" creationId="{1528548B-8981-7521-03CA-7AE971FF4C02}"/>
          </ac:cxnSpMkLst>
        </pc:cxnChg>
        <pc:cxnChg chg="add mod">
          <ac:chgData name="Masuda, Yusuke 2" userId="89e8346c-0ffa-4e0a-bf4c-6fc819ed007b" providerId="ADAL" clId="{9288546F-35D6-4D52-BA48-A384361A391F}" dt="2026-05-18T08:35:47.738" v="20268" actId="1036"/>
          <ac:cxnSpMkLst>
            <pc:docMk/>
            <pc:sldMk cId="1975620144" sldId="2147469853"/>
            <ac:cxnSpMk id="96" creationId="{2B7E49A6-0BDA-D905-591C-6DBD2DB63CEE}"/>
          </ac:cxnSpMkLst>
        </pc:cxnChg>
        <pc:cxnChg chg="add mod">
          <ac:chgData name="Masuda, Yusuke 2" userId="89e8346c-0ffa-4e0a-bf4c-6fc819ed007b" providerId="ADAL" clId="{9288546F-35D6-4D52-BA48-A384361A391F}" dt="2026-05-18T08:35:47.738" v="20268" actId="1036"/>
          <ac:cxnSpMkLst>
            <pc:docMk/>
            <pc:sldMk cId="1975620144" sldId="2147469853"/>
            <ac:cxnSpMk id="97" creationId="{BDA375E8-71FC-CCCE-E02B-964D3A5AF7ED}"/>
          </ac:cxnSpMkLst>
        </pc:cxnChg>
        <pc:cxnChg chg="add mod">
          <ac:chgData name="Masuda, Yusuke 2" userId="89e8346c-0ffa-4e0a-bf4c-6fc819ed007b" providerId="ADAL" clId="{9288546F-35D6-4D52-BA48-A384361A391F}" dt="2026-05-18T08:35:47.738" v="20268" actId="1036"/>
          <ac:cxnSpMkLst>
            <pc:docMk/>
            <pc:sldMk cId="1975620144" sldId="2147469853"/>
            <ac:cxnSpMk id="100" creationId="{AC82FA42-2D61-8F34-D5B2-437845B54F79}"/>
          </ac:cxnSpMkLst>
        </pc:cxnChg>
        <pc:cxnChg chg="add mod">
          <ac:chgData name="Masuda, Yusuke 2" userId="89e8346c-0ffa-4e0a-bf4c-6fc819ed007b" providerId="ADAL" clId="{9288546F-35D6-4D52-BA48-A384361A391F}" dt="2026-05-18T08:36:37.161" v="20305" actId="1036"/>
          <ac:cxnSpMkLst>
            <pc:docMk/>
            <pc:sldMk cId="1975620144" sldId="2147469853"/>
            <ac:cxnSpMk id="103" creationId="{C14D31CD-5DC0-56E4-7C7D-9CDBF4F7A236}"/>
          </ac:cxnSpMkLst>
        </pc:cxnChg>
      </pc:sldChg>
      <pc:sldChg chg="addSp delSp modSp add del mod">
        <pc:chgData name="Masuda, Yusuke 2" userId="89e8346c-0ffa-4e0a-bf4c-6fc819ed007b" providerId="ADAL" clId="{9288546F-35D6-4D52-BA48-A384361A391F}" dt="2026-05-18T08:15:14.062" v="19727" actId="2696"/>
        <pc:sldMkLst>
          <pc:docMk/>
          <pc:sldMk cId="2695879161" sldId="2147469854"/>
        </pc:sldMkLst>
      </pc:sldChg>
      <pc:sldChg chg="addSp delSp modSp mod">
        <pc:chgData name="Masuda, Yusuke 2" userId="89e8346c-0ffa-4e0a-bf4c-6fc819ed007b" providerId="ADAL" clId="{9288546F-35D6-4D52-BA48-A384361A391F}" dt="2026-05-19T04:38:01.734" v="33619" actId="20577"/>
        <pc:sldMkLst>
          <pc:docMk/>
          <pc:sldMk cId="2240745730" sldId="2147469855"/>
        </pc:sldMkLst>
        <pc:spChg chg="mod">
          <ac:chgData name="Masuda, Yusuke 2" userId="89e8346c-0ffa-4e0a-bf4c-6fc819ed007b" providerId="ADAL" clId="{9288546F-35D6-4D52-BA48-A384361A391F}" dt="2026-05-18T08:13:18.460" v="19724" actId="20577"/>
          <ac:spMkLst>
            <pc:docMk/>
            <pc:sldMk cId="2240745730" sldId="2147469855"/>
            <ac:spMk id="4" creationId="{2EA7B675-4EF3-F78C-D520-5B7849CE4D3D}"/>
          </ac:spMkLst>
        </pc:spChg>
        <pc:spChg chg="mod">
          <ac:chgData name="Masuda, Yusuke 2" userId="89e8346c-0ffa-4e0a-bf4c-6fc819ed007b" providerId="ADAL" clId="{9288546F-35D6-4D52-BA48-A384361A391F}" dt="2026-04-22T09:52:37.844" v="11607" actId="208"/>
          <ac:spMkLst>
            <pc:docMk/>
            <pc:sldMk cId="2240745730" sldId="2147469855"/>
            <ac:spMk id="7" creationId="{E91966A4-E485-B8AB-4A4F-32352D00DB65}"/>
          </ac:spMkLst>
        </pc:spChg>
        <pc:spChg chg="mod">
          <ac:chgData name="Masuda, Yusuke 2" userId="89e8346c-0ffa-4e0a-bf4c-6fc819ed007b" providerId="ADAL" clId="{9288546F-35D6-4D52-BA48-A384361A391F}" dt="2026-04-24T10:08:22.992" v="16151" actId="13926"/>
          <ac:spMkLst>
            <pc:docMk/>
            <pc:sldMk cId="2240745730" sldId="2147469855"/>
            <ac:spMk id="8" creationId="{30662032-4542-E816-8794-C3B40D52B023}"/>
          </ac:spMkLst>
        </pc:spChg>
        <pc:spChg chg="mod">
          <ac:chgData name="Masuda, Yusuke 2" userId="89e8346c-0ffa-4e0a-bf4c-6fc819ed007b" providerId="ADAL" clId="{9288546F-35D6-4D52-BA48-A384361A391F}" dt="2026-04-22T09:52:37.844" v="11607" actId="208"/>
          <ac:spMkLst>
            <pc:docMk/>
            <pc:sldMk cId="2240745730" sldId="2147469855"/>
            <ac:spMk id="9" creationId="{0990E0B6-D59E-38C6-739A-43902A2CD8A3}"/>
          </ac:spMkLst>
        </pc:spChg>
        <pc:spChg chg="mod">
          <ac:chgData name="Masuda, Yusuke 2" userId="89e8346c-0ffa-4e0a-bf4c-6fc819ed007b" providerId="ADAL" clId="{9288546F-35D6-4D52-BA48-A384361A391F}" dt="2026-04-22T09:34:04.671" v="10653" actId="1035"/>
          <ac:spMkLst>
            <pc:docMk/>
            <pc:sldMk cId="2240745730" sldId="2147469855"/>
            <ac:spMk id="10" creationId="{27EEFD81-6F23-0AB8-2AAB-9FE147F1D606}"/>
          </ac:spMkLst>
        </pc:spChg>
        <pc:spChg chg="mod">
          <ac:chgData name="Masuda, Yusuke 2" userId="89e8346c-0ffa-4e0a-bf4c-6fc819ed007b" providerId="ADAL" clId="{9288546F-35D6-4D52-BA48-A384361A391F}" dt="2026-04-22T09:34:04.671" v="10653" actId="1035"/>
          <ac:spMkLst>
            <pc:docMk/>
            <pc:sldMk cId="2240745730" sldId="2147469855"/>
            <ac:spMk id="11" creationId="{6CB39270-C7E6-103D-B610-0868E4114306}"/>
          </ac:spMkLst>
        </pc:spChg>
        <pc:spChg chg="add mod">
          <ac:chgData name="Masuda, Yusuke 2" userId="89e8346c-0ffa-4e0a-bf4c-6fc819ed007b" providerId="ADAL" clId="{9288546F-35D6-4D52-BA48-A384361A391F}" dt="2026-05-15T02:13:44.734" v="17718" actId="1036"/>
          <ac:spMkLst>
            <pc:docMk/>
            <pc:sldMk cId="2240745730" sldId="2147469855"/>
            <ac:spMk id="13" creationId="{4317AEF5-BC9D-3BCD-B68F-76392CDF58F4}"/>
          </ac:spMkLst>
        </pc:spChg>
        <pc:graphicFrameChg chg="add mod modGraphic">
          <ac:chgData name="Masuda, Yusuke 2" userId="89e8346c-0ffa-4e0a-bf4c-6fc819ed007b" providerId="ADAL" clId="{9288546F-35D6-4D52-BA48-A384361A391F}" dt="2026-05-19T04:38:01.734" v="33619" actId="20577"/>
          <ac:graphicFrameMkLst>
            <pc:docMk/>
            <pc:sldMk cId="2240745730" sldId="2147469855"/>
            <ac:graphicFrameMk id="6" creationId="{02F83949-551E-C6BB-A4CE-DDA224341873}"/>
          </ac:graphicFrameMkLst>
        </pc:graphicFrameChg>
      </pc:sldChg>
      <pc:sldChg chg="addSp delSp modSp del mod">
        <pc:chgData name="Masuda, Yusuke 2" userId="89e8346c-0ffa-4e0a-bf4c-6fc819ed007b" providerId="ADAL" clId="{9288546F-35D6-4D52-BA48-A384361A391F}" dt="2026-05-18T08:13:29.767" v="19725" actId="2696"/>
        <pc:sldMkLst>
          <pc:docMk/>
          <pc:sldMk cId="2256431487" sldId="2147469856"/>
        </pc:sldMkLst>
      </pc:sldChg>
      <pc:sldChg chg="addSp delSp modSp mod">
        <pc:chgData name="Masuda, Yusuke 2" userId="89e8346c-0ffa-4e0a-bf4c-6fc819ed007b" providerId="ADAL" clId="{9288546F-35D6-4D52-BA48-A384361A391F}" dt="2026-05-19T04:37:52.539" v="33609" actId="20577"/>
        <pc:sldMkLst>
          <pc:docMk/>
          <pc:sldMk cId="1601412385" sldId="2147469858"/>
        </pc:sldMkLst>
        <pc:spChg chg="mod">
          <ac:chgData name="Masuda, Yusuke 2" userId="89e8346c-0ffa-4e0a-bf4c-6fc819ed007b" providerId="ADAL" clId="{9288546F-35D6-4D52-BA48-A384361A391F}" dt="2026-04-22T09:52:33.576" v="11605" actId="208"/>
          <ac:spMkLst>
            <pc:docMk/>
            <pc:sldMk cId="1601412385" sldId="2147469858"/>
            <ac:spMk id="7" creationId="{751E6D75-AD38-2FD7-1616-CDE2DB6EDD99}"/>
          </ac:spMkLst>
        </pc:spChg>
        <pc:spChg chg="mod">
          <ac:chgData name="Masuda, Yusuke 2" userId="89e8346c-0ffa-4e0a-bf4c-6fc819ed007b" providerId="ADAL" clId="{9288546F-35D6-4D52-BA48-A384361A391F}" dt="2026-04-24T10:08:19.605" v="16150" actId="13926"/>
          <ac:spMkLst>
            <pc:docMk/>
            <pc:sldMk cId="1601412385" sldId="2147469858"/>
            <ac:spMk id="8" creationId="{27E44681-3432-F383-0D69-8FC7A30626F4}"/>
          </ac:spMkLst>
        </pc:spChg>
        <pc:spChg chg="mod">
          <ac:chgData name="Masuda, Yusuke 2" userId="89e8346c-0ffa-4e0a-bf4c-6fc819ed007b" providerId="ADAL" clId="{9288546F-35D6-4D52-BA48-A384361A391F}" dt="2026-05-15T02:12:37.972" v="17682" actId="113"/>
          <ac:spMkLst>
            <pc:docMk/>
            <pc:sldMk cId="1601412385" sldId="2147469858"/>
            <ac:spMk id="10" creationId="{7A9B3E18-6E9B-E050-4A6A-18AB0306D3B3}"/>
          </ac:spMkLst>
        </pc:spChg>
        <pc:spChg chg="add mod">
          <ac:chgData name="Masuda, Yusuke 2" userId="89e8346c-0ffa-4e0a-bf4c-6fc819ed007b" providerId="ADAL" clId="{9288546F-35D6-4D52-BA48-A384361A391F}" dt="2026-04-22T09:52:33.576" v="11605" actId="208"/>
          <ac:spMkLst>
            <pc:docMk/>
            <pc:sldMk cId="1601412385" sldId="2147469858"/>
            <ac:spMk id="14" creationId="{A351487E-C6A3-51AE-0DF6-49265DD44CF1}"/>
          </ac:spMkLst>
        </pc:spChg>
        <pc:spChg chg="add mod">
          <ac:chgData name="Masuda, Yusuke 2" userId="89e8346c-0ffa-4e0a-bf4c-6fc819ed007b" providerId="ADAL" clId="{9288546F-35D6-4D52-BA48-A384361A391F}" dt="2026-04-22T09:52:33.576" v="11605" actId="208"/>
          <ac:spMkLst>
            <pc:docMk/>
            <pc:sldMk cId="1601412385" sldId="2147469858"/>
            <ac:spMk id="16" creationId="{BC2E35DF-A788-7BCA-0449-38199CDC4B12}"/>
          </ac:spMkLst>
        </pc:spChg>
        <pc:spChg chg="add mod">
          <ac:chgData name="Masuda, Yusuke 2" userId="89e8346c-0ffa-4e0a-bf4c-6fc819ed007b" providerId="ADAL" clId="{9288546F-35D6-4D52-BA48-A384361A391F}" dt="2026-04-22T09:52:33.576" v="11605" actId="208"/>
          <ac:spMkLst>
            <pc:docMk/>
            <pc:sldMk cId="1601412385" sldId="2147469858"/>
            <ac:spMk id="17" creationId="{6F30CA86-2942-8861-85D7-D378633D7A96}"/>
          </ac:spMkLst>
        </pc:spChg>
        <pc:spChg chg="add mod">
          <ac:chgData name="Masuda, Yusuke 2" userId="89e8346c-0ffa-4e0a-bf4c-6fc819ed007b" providerId="ADAL" clId="{9288546F-35D6-4D52-BA48-A384361A391F}" dt="2026-04-22T09:52:33.576" v="11605" actId="208"/>
          <ac:spMkLst>
            <pc:docMk/>
            <pc:sldMk cId="1601412385" sldId="2147469858"/>
            <ac:spMk id="18" creationId="{B090C270-874E-A7FB-F613-05C7150CC0FB}"/>
          </ac:spMkLst>
        </pc:spChg>
        <pc:spChg chg="add mod">
          <ac:chgData name="Masuda, Yusuke 2" userId="89e8346c-0ffa-4e0a-bf4c-6fc819ed007b" providerId="ADAL" clId="{9288546F-35D6-4D52-BA48-A384361A391F}" dt="2026-04-22T09:14:42.058" v="9674" actId="164"/>
          <ac:spMkLst>
            <pc:docMk/>
            <pc:sldMk cId="1601412385" sldId="2147469858"/>
            <ac:spMk id="19" creationId="{1556C23D-20E3-14F0-311C-148CE935648F}"/>
          </ac:spMkLst>
        </pc:spChg>
        <pc:spChg chg="add mod topLvl">
          <ac:chgData name="Masuda, Yusuke 2" userId="89e8346c-0ffa-4e0a-bf4c-6fc819ed007b" providerId="ADAL" clId="{9288546F-35D6-4D52-BA48-A384361A391F}" dt="2026-05-18T09:17:48.712" v="22646" actId="207"/>
          <ac:spMkLst>
            <pc:docMk/>
            <pc:sldMk cId="1601412385" sldId="2147469858"/>
            <ac:spMk id="20" creationId="{71E9C5C9-575B-B543-786A-99CA3A72EDF0}"/>
          </ac:spMkLst>
        </pc:spChg>
        <pc:spChg chg="add mod topLvl">
          <ac:chgData name="Masuda, Yusuke 2" userId="89e8346c-0ffa-4e0a-bf4c-6fc819ed007b" providerId="ADAL" clId="{9288546F-35D6-4D52-BA48-A384361A391F}" dt="2026-05-18T09:17:48.712" v="22646" actId="207"/>
          <ac:spMkLst>
            <pc:docMk/>
            <pc:sldMk cId="1601412385" sldId="2147469858"/>
            <ac:spMk id="21" creationId="{5EAB68E0-78C1-8BA4-71BB-532170ECFF35}"/>
          </ac:spMkLst>
        </pc:spChg>
        <pc:spChg chg="add mod topLvl">
          <ac:chgData name="Masuda, Yusuke 2" userId="89e8346c-0ffa-4e0a-bf4c-6fc819ed007b" providerId="ADAL" clId="{9288546F-35D6-4D52-BA48-A384361A391F}" dt="2026-05-19T04:37:44.795" v="33587" actId="20577"/>
          <ac:spMkLst>
            <pc:docMk/>
            <pc:sldMk cId="1601412385" sldId="2147469858"/>
            <ac:spMk id="22" creationId="{4F24A8F6-6567-8E45-7A31-E2808CA182C6}"/>
          </ac:spMkLst>
        </pc:spChg>
        <pc:spChg chg="mod topLvl">
          <ac:chgData name="Masuda, Yusuke 2" userId="89e8346c-0ffa-4e0a-bf4c-6fc819ed007b" providerId="ADAL" clId="{9288546F-35D6-4D52-BA48-A384361A391F}" dt="2026-05-18T09:17:48.712" v="22646" actId="207"/>
          <ac:spMkLst>
            <pc:docMk/>
            <pc:sldMk cId="1601412385" sldId="2147469858"/>
            <ac:spMk id="25" creationId="{1A2B9081-AB60-51D2-472E-18AB2A3C8101}"/>
          </ac:spMkLst>
        </pc:spChg>
        <pc:spChg chg="mod topLvl">
          <ac:chgData name="Masuda, Yusuke 2" userId="89e8346c-0ffa-4e0a-bf4c-6fc819ed007b" providerId="ADAL" clId="{9288546F-35D6-4D52-BA48-A384361A391F}" dt="2026-05-18T09:17:48.712" v="22646" actId="207"/>
          <ac:spMkLst>
            <pc:docMk/>
            <pc:sldMk cId="1601412385" sldId="2147469858"/>
            <ac:spMk id="26" creationId="{09B68073-E4A4-D9E9-7519-196AE8C29DAF}"/>
          </ac:spMkLst>
        </pc:spChg>
        <pc:spChg chg="mod topLvl">
          <ac:chgData name="Masuda, Yusuke 2" userId="89e8346c-0ffa-4e0a-bf4c-6fc819ed007b" providerId="ADAL" clId="{9288546F-35D6-4D52-BA48-A384361A391F}" dt="2026-05-18T09:17:48.712" v="22646" actId="207"/>
          <ac:spMkLst>
            <pc:docMk/>
            <pc:sldMk cId="1601412385" sldId="2147469858"/>
            <ac:spMk id="27" creationId="{88AE67F7-2117-30F6-2E75-301CAD3E4A95}"/>
          </ac:spMkLst>
        </pc:spChg>
        <pc:spChg chg="mod topLvl">
          <ac:chgData name="Masuda, Yusuke 2" userId="89e8346c-0ffa-4e0a-bf4c-6fc819ed007b" providerId="ADAL" clId="{9288546F-35D6-4D52-BA48-A384361A391F}" dt="2026-05-19T04:37:32.747" v="33583" actId="120"/>
          <ac:spMkLst>
            <pc:docMk/>
            <pc:sldMk cId="1601412385" sldId="2147469858"/>
            <ac:spMk id="28" creationId="{DE1E5ACE-B3BC-EC19-E5C7-EC940E724A03}"/>
          </ac:spMkLst>
        </pc:spChg>
        <pc:spChg chg="mod topLvl">
          <ac:chgData name="Masuda, Yusuke 2" userId="89e8346c-0ffa-4e0a-bf4c-6fc819ed007b" providerId="ADAL" clId="{9288546F-35D6-4D52-BA48-A384361A391F}" dt="2026-04-22T09:33:04.946" v="10632" actId="1035"/>
          <ac:spMkLst>
            <pc:docMk/>
            <pc:sldMk cId="1601412385" sldId="2147469858"/>
            <ac:spMk id="30" creationId="{97304DBB-EAEF-6C88-4ADD-8CB48D276A4E}"/>
          </ac:spMkLst>
        </pc:spChg>
        <pc:spChg chg="mod">
          <ac:chgData name="Masuda, Yusuke 2" userId="89e8346c-0ffa-4e0a-bf4c-6fc819ed007b" providerId="ADAL" clId="{9288546F-35D6-4D52-BA48-A384361A391F}" dt="2026-04-22T09:15:20.932" v="9720" actId="20577"/>
          <ac:spMkLst>
            <pc:docMk/>
            <pc:sldMk cId="1601412385" sldId="2147469858"/>
            <ac:spMk id="31" creationId="{41FF1E3D-49DE-78F4-5042-519ADAABF232}"/>
          </ac:spMkLst>
        </pc:spChg>
        <pc:spChg chg="mod">
          <ac:chgData name="Masuda, Yusuke 2" userId="89e8346c-0ffa-4e0a-bf4c-6fc819ed007b" providerId="ADAL" clId="{9288546F-35D6-4D52-BA48-A384361A391F}" dt="2026-05-19T04:37:28.909" v="33581" actId="20577"/>
          <ac:spMkLst>
            <pc:docMk/>
            <pc:sldMk cId="1601412385" sldId="2147469858"/>
            <ac:spMk id="32" creationId="{AB04D5D3-6E02-60E4-90C7-10F81AB57D22}"/>
          </ac:spMkLst>
        </pc:spChg>
        <pc:spChg chg="mod topLvl">
          <ac:chgData name="Masuda, Yusuke 2" userId="89e8346c-0ffa-4e0a-bf4c-6fc819ed007b" providerId="ADAL" clId="{9288546F-35D6-4D52-BA48-A384361A391F}" dt="2026-05-19T04:37:32.747" v="33583" actId="120"/>
          <ac:spMkLst>
            <pc:docMk/>
            <pc:sldMk cId="1601412385" sldId="2147469858"/>
            <ac:spMk id="33" creationId="{0257C1EE-A242-BB66-315E-3564CB7E0B99}"/>
          </ac:spMkLst>
        </pc:spChg>
        <pc:spChg chg="mod">
          <ac:chgData name="Masuda, Yusuke 2" userId="89e8346c-0ffa-4e0a-bf4c-6fc819ed007b" providerId="ADAL" clId="{9288546F-35D6-4D52-BA48-A384361A391F}" dt="2026-05-19T04:37:20.957" v="33570" actId="20577"/>
          <ac:spMkLst>
            <pc:docMk/>
            <pc:sldMk cId="1601412385" sldId="2147469858"/>
            <ac:spMk id="35" creationId="{1ADDA2F3-181F-168E-A7B1-FB9A5E9F0D37}"/>
          </ac:spMkLst>
        </pc:spChg>
        <pc:spChg chg="mod topLvl">
          <ac:chgData name="Masuda, Yusuke 2" userId="89e8346c-0ffa-4e0a-bf4c-6fc819ed007b" providerId="ADAL" clId="{9288546F-35D6-4D52-BA48-A384361A391F}" dt="2026-05-18T09:17:48.712" v="22646" actId="207"/>
          <ac:spMkLst>
            <pc:docMk/>
            <pc:sldMk cId="1601412385" sldId="2147469858"/>
            <ac:spMk id="36" creationId="{164E0BA7-197F-2EC4-E6B0-5923BB83B359}"/>
          </ac:spMkLst>
        </pc:spChg>
        <pc:spChg chg="mod">
          <ac:chgData name="Masuda, Yusuke 2" userId="89e8346c-0ffa-4e0a-bf4c-6fc819ed007b" providerId="ADAL" clId="{9288546F-35D6-4D52-BA48-A384361A391F}" dt="2026-05-18T09:17:48.712" v="22646" actId="207"/>
          <ac:spMkLst>
            <pc:docMk/>
            <pc:sldMk cId="1601412385" sldId="2147469858"/>
            <ac:spMk id="37" creationId="{9C74F3D0-097C-F597-F0A4-0D5952685731}"/>
          </ac:spMkLst>
        </pc:spChg>
        <pc:spChg chg="mod">
          <ac:chgData name="Masuda, Yusuke 2" userId="89e8346c-0ffa-4e0a-bf4c-6fc819ed007b" providerId="ADAL" clId="{9288546F-35D6-4D52-BA48-A384361A391F}" dt="2026-05-19T04:37:32.747" v="33583" actId="120"/>
          <ac:spMkLst>
            <pc:docMk/>
            <pc:sldMk cId="1601412385" sldId="2147469858"/>
            <ac:spMk id="38" creationId="{66798B44-DEF0-C53D-C51E-8A7451207DED}"/>
          </ac:spMkLst>
        </pc:spChg>
        <pc:graphicFrameChg chg="add mod modGraphic">
          <ac:chgData name="Masuda, Yusuke 2" userId="89e8346c-0ffa-4e0a-bf4c-6fc819ed007b" providerId="ADAL" clId="{9288546F-35D6-4D52-BA48-A384361A391F}" dt="2026-05-19T04:37:52.539" v="33609" actId="20577"/>
          <ac:graphicFrameMkLst>
            <pc:docMk/>
            <pc:sldMk cId="1601412385" sldId="2147469858"/>
            <ac:graphicFrameMk id="3" creationId="{C25CA815-3FCC-B3FC-E6CC-5BCA78CFD604}"/>
          </ac:graphicFrameMkLst>
        </pc:graphicFrameChg>
      </pc:sldChg>
      <pc:sldChg chg="addSp delSp modSp mod">
        <pc:chgData name="Masuda, Yusuke 2" userId="89e8346c-0ffa-4e0a-bf4c-6fc819ed007b" providerId="ADAL" clId="{9288546F-35D6-4D52-BA48-A384361A391F}" dt="2026-05-19T04:48:57.128" v="34261" actId="207"/>
        <pc:sldMkLst>
          <pc:docMk/>
          <pc:sldMk cId="849664344" sldId="2147469859"/>
        </pc:sldMkLst>
        <pc:spChg chg="mod">
          <ac:chgData name="Masuda, Yusuke 2" userId="89e8346c-0ffa-4e0a-bf4c-6fc819ed007b" providerId="ADAL" clId="{9288546F-35D6-4D52-BA48-A384361A391F}" dt="2026-04-22T09:50:57.878" v="11587" actId="208"/>
          <ac:spMkLst>
            <pc:docMk/>
            <pc:sldMk cId="849664344" sldId="2147469859"/>
            <ac:spMk id="3" creationId="{2A8EC30D-6384-13FC-9BE1-B71A64C29208}"/>
          </ac:spMkLst>
        </pc:spChg>
        <pc:spChg chg="mod">
          <ac:chgData name="Masuda, Yusuke 2" userId="89e8346c-0ffa-4e0a-bf4c-6fc819ed007b" providerId="ADAL" clId="{9288546F-35D6-4D52-BA48-A384361A391F}" dt="2026-04-27T03:51:52.711" v="16309" actId="20577"/>
          <ac:spMkLst>
            <pc:docMk/>
            <pc:sldMk cId="849664344" sldId="2147469859"/>
            <ac:spMk id="4" creationId="{2EA7B675-4EF3-F78C-D520-5B7849CE4D3D}"/>
          </ac:spMkLst>
        </pc:spChg>
        <pc:spChg chg="mod">
          <ac:chgData name="Masuda, Yusuke 2" userId="89e8346c-0ffa-4e0a-bf4c-6fc819ed007b" providerId="ADAL" clId="{9288546F-35D6-4D52-BA48-A384361A391F}" dt="2026-05-15T02:46:36.674" v="18696" actId="207"/>
          <ac:spMkLst>
            <pc:docMk/>
            <pc:sldMk cId="849664344" sldId="2147469859"/>
            <ac:spMk id="6" creationId="{B2D84371-4555-5740-9BD6-32FA507F2FD7}"/>
          </ac:spMkLst>
        </pc:spChg>
        <pc:spChg chg="add mod">
          <ac:chgData name="Masuda, Yusuke 2" userId="89e8346c-0ffa-4e0a-bf4c-6fc819ed007b" providerId="ADAL" clId="{9288546F-35D6-4D52-BA48-A384361A391F}" dt="2026-05-19T04:48:57.128" v="34261" actId="207"/>
          <ac:spMkLst>
            <pc:docMk/>
            <pc:sldMk cId="849664344" sldId="2147469859"/>
            <ac:spMk id="8" creationId="{A18A8BD7-9609-6E40-33EA-6A1A572C1FAD}"/>
          </ac:spMkLst>
        </pc:spChg>
        <pc:graphicFrameChg chg="mod modGraphic">
          <ac:chgData name="Masuda, Yusuke 2" userId="89e8346c-0ffa-4e0a-bf4c-6fc819ed007b" providerId="ADAL" clId="{9288546F-35D6-4D52-BA48-A384361A391F}" dt="2026-05-19T04:40:13.235" v="33769" actId="20577"/>
          <ac:graphicFrameMkLst>
            <pc:docMk/>
            <pc:sldMk cId="849664344" sldId="2147469859"/>
            <ac:graphicFrameMk id="5" creationId="{429677DE-F9BC-E561-84F3-A8125C21C8E3}"/>
          </ac:graphicFrameMkLst>
        </pc:graphicFrameChg>
        <pc:graphicFrameChg chg="mod modGraphic">
          <ac:chgData name="Masuda, Yusuke 2" userId="89e8346c-0ffa-4e0a-bf4c-6fc819ed007b" providerId="ADAL" clId="{9288546F-35D6-4D52-BA48-A384361A391F}" dt="2026-05-19T04:40:06.801" v="33764" actId="2711"/>
          <ac:graphicFrameMkLst>
            <pc:docMk/>
            <pc:sldMk cId="849664344" sldId="2147469859"/>
            <ac:graphicFrameMk id="13" creationId="{0B167E6B-57D4-95F7-E939-82A70F4DA39C}"/>
          </ac:graphicFrameMkLst>
        </pc:graphicFrameChg>
      </pc:sldChg>
      <pc:sldChg chg="addSp delSp modSp add del mod">
        <pc:chgData name="Masuda, Yusuke 2" userId="89e8346c-0ffa-4e0a-bf4c-6fc819ed007b" providerId="ADAL" clId="{9288546F-35D6-4D52-BA48-A384361A391F}" dt="2026-04-22T02:00:03.805" v="4459" actId="2696"/>
        <pc:sldMkLst>
          <pc:docMk/>
          <pc:sldMk cId="1124822558" sldId="2147483344"/>
        </pc:sldMkLst>
      </pc:sldChg>
      <pc:sldChg chg="addSp delSp modSp new add del mod ord">
        <pc:chgData name="Masuda, Yusuke 2" userId="89e8346c-0ffa-4e0a-bf4c-6fc819ed007b" providerId="ADAL" clId="{9288546F-35D6-4D52-BA48-A384361A391F}" dt="2026-05-19T02:43:07.495" v="27589"/>
        <pc:sldMkLst>
          <pc:docMk/>
          <pc:sldMk cId="914278419" sldId="2147483345"/>
        </pc:sldMkLst>
        <pc:spChg chg="add mod">
          <ac:chgData name="Masuda, Yusuke 2" userId="89e8346c-0ffa-4e0a-bf4c-6fc819ed007b" providerId="ADAL" clId="{9288546F-35D6-4D52-BA48-A384361A391F}" dt="2026-05-15T02:41:28.806" v="18345" actId="14100"/>
          <ac:spMkLst>
            <pc:docMk/>
            <pc:sldMk cId="914278419" sldId="2147483345"/>
            <ac:spMk id="6" creationId="{C8D130D7-6A27-18B6-B19E-BCC99170DC92}"/>
          </ac:spMkLst>
        </pc:spChg>
        <pc:spChg chg="add mod">
          <ac:chgData name="Masuda, Yusuke 2" userId="89e8346c-0ffa-4e0a-bf4c-6fc819ed007b" providerId="ADAL" clId="{9288546F-35D6-4D52-BA48-A384361A391F}" dt="2026-04-22T09:57:13.116" v="11668" actId="20577"/>
          <ac:spMkLst>
            <pc:docMk/>
            <pc:sldMk cId="914278419" sldId="2147483345"/>
            <ac:spMk id="7" creationId="{2D24BD8D-4C06-3E95-1219-ECD3493F1F84}"/>
          </ac:spMkLst>
        </pc:spChg>
        <pc:spChg chg="add mod">
          <ac:chgData name="Masuda, Yusuke 2" userId="89e8346c-0ffa-4e0a-bf4c-6fc819ed007b" providerId="ADAL" clId="{9288546F-35D6-4D52-BA48-A384361A391F}" dt="2026-05-19T02:43:07.495" v="27589"/>
          <ac:spMkLst>
            <pc:docMk/>
            <pc:sldMk cId="914278419" sldId="2147483345"/>
            <ac:spMk id="8" creationId="{324900AE-5340-7837-B53F-3F0B94BEC7CF}"/>
          </ac:spMkLst>
        </pc:spChg>
        <pc:spChg chg="add mod">
          <ac:chgData name="Masuda, Yusuke 2" userId="89e8346c-0ffa-4e0a-bf4c-6fc819ed007b" providerId="ADAL" clId="{9288546F-35D6-4D52-BA48-A384361A391F}" dt="2026-04-22T06:44:18.757" v="5671" actId="14100"/>
          <ac:spMkLst>
            <pc:docMk/>
            <pc:sldMk cId="914278419" sldId="2147483345"/>
            <ac:spMk id="12" creationId="{69CE2DE2-066F-5FF7-295C-080B9702BE57}"/>
          </ac:spMkLst>
        </pc:spChg>
      </pc:sldChg>
      <pc:sldChg chg="addSp modSp add del mod">
        <pc:chgData name="Masuda, Yusuke 2" userId="89e8346c-0ffa-4e0a-bf4c-6fc819ed007b" providerId="ADAL" clId="{9288546F-35D6-4D52-BA48-A384361A391F}" dt="2026-05-18T08:15:14.062" v="19727" actId="2696"/>
        <pc:sldMkLst>
          <pc:docMk/>
          <pc:sldMk cId="3925958585" sldId="2147483349"/>
        </pc:sldMkLst>
      </pc:sldChg>
      <pc:sldChg chg="addSp modSp add del">
        <pc:chgData name="Masuda, Yusuke 2" userId="89e8346c-0ffa-4e0a-bf4c-6fc819ed007b" providerId="ADAL" clId="{9288546F-35D6-4D52-BA48-A384361A391F}" dt="2026-05-18T08:15:14.062" v="19727" actId="2696"/>
        <pc:sldMkLst>
          <pc:docMk/>
          <pc:sldMk cId="2033793724" sldId="2147483350"/>
        </pc:sldMkLst>
      </pc:sldChg>
      <pc:sldChg chg="add del">
        <pc:chgData name="Masuda, Yusuke 2" userId="89e8346c-0ffa-4e0a-bf4c-6fc819ed007b" providerId="ADAL" clId="{9288546F-35D6-4D52-BA48-A384361A391F}" dt="2026-05-18T08:15:14.062" v="19727" actId="2696"/>
        <pc:sldMkLst>
          <pc:docMk/>
          <pc:sldMk cId="1482323722" sldId="2147483354"/>
        </pc:sldMkLst>
      </pc:sldChg>
      <pc:sldChg chg="addSp modSp add del mod">
        <pc:chgData name="Masuda, Yusuke 2" userId="89e8346c-0ffa-4e0a-bf4c-6fc819ed007b" providerId="ADAL" clId="{9288546F-35D6-4D52-BA48-A384361A391F}" dt="2026-05-18T08:15:14.062" v="19727" actId="2696"/>
        <pc:sldMkLst>
          <pc:docMk/>
          <pc:sldMk cId="4109588354" sldId="2147483356"/>
        </pc:sldMkLst>
      </pc:sldChg>
      <pc:sldChg chg="add del">
        <pc:chgData name="Masuda, Yusuke 2" userId="89e8346c-0ffa-4e0a-bf4c-6fc819ed007b" providerId="ADAL" clId="{9288546F-35D6-4D52-BA48-A384361A391F}" dt="2026-05-18T08:15:14.062" v="19727" actId="2696"/>
        <pc:sldMkLst>
          <pc:docMk/>
          <pc:sldMk cId="4029310979" sldId="2147483358"/>
        </pc:sldMkLst>
      </pc:sldChg>
      <pc:sldChg chg="addSp modSp add del">
        <pc:chgData name="Masuda, Yusuke 2" userId="89e8346c-0ffa-4e0a-bf4c-6fc819ed007b" providerId="ADAL" clId="{9288546F-35D6-4D52-BA48-A384361A391F}" dt="2026-05-18T08:15:14.062" v="19727" actId="2696"/>
        <pc:sldMkLst>
          <pc:docMk/>
          <pc:sldMk cId="1497241970" sldId="2147483363"/>
        </pc:sldMkLst>
      </pc:sldChg>
      <pc:sldChg chg="addSp modSp add del">
        <pc:chgData name="Masuda, Yusuke 2" userId="89e8346c-0ffa-4e0a-bf4c-6fc819ed007b" providerId="ADAL" clId="{9288546F-35D6-4D52-BA48-A384361A391F}" dt="2026-05-18T08:15:14.062" v="19727" actId="2696"/>
        <pc:sldMkLst>
          <pc:docMk/>
          <pc:sldMk cId="638540340" sldId="2147483364"/>
        </pc:sldMkLst>
      </pc:sldChg>
      <pc:sldChg chg="add del">
        <pc:chgData name="Masuda, Yusuke 2" userId="89e8346c-0ffa-4e0a-bf4c-6fc819ed007b" providerId="ADAL" clId="{9288546F-35D6-4D52-BA48-A384361A391F}" dt="2026-05-18T08:15:14.062" v="19727" actId="2696"/>
        <pc:sldMkLst>
          <pc:docMk/>
          <pc:sldMk cId="2828455644" sldId="2147483365"/>
        </pc:sldMkLst>
      </pc:sldChg>
      <pc:sldChg chg="addSp modSp add del mod">
        <pc:chgData name="Masuda, Yusuke 2" userId="89e8346c-0ffa-4e0a-bf4c-6fc819ed007b" providerId="ADAL" clId="{9288546F-35D6-4D52-BA48-A384361A391F}" dt="2026-05-18T08:15:14.062" v="19727" actId="2696"/>
        <pc:sldMkLst>
          <pc:docMk/>
          <pc:sldMk cId="1078348660" sldId="2147483366"/>
        </pc:sldMkLst>
      </pc:sldChg>
      <pc:sldChg chg="add del">
        <pc:chgData name="Masuda, Yusuke 2" userId="89e8346c-0ffa-4e0a-bf4c-6fc819ed007b" providerId="ADAL" clId="{9288546F-35D6-4D52-BA48-A384361A391F}" dt="2026-05-18T08:15:14.062" v="19727" actId="2696"/>
        <pc:sldMkLst>
          <pc:docMk/>
          <pc:sldMk cId="895305695" sldId="2147483367"/>
        </pc:sldMkLst>
      </pc:sldChg>
      <pc:sldChg chg="add del">
        <pc:chgData name="Masuda, Yusuke 2" userId="89e8346c-0ffa-4e0a-bf4c-6fc819ed007b" providerId="ADAL" clId="{9288546F-35D6-4D52-BA48-A384361A391F}" dt="2026-05-18T08:15:14.062" v="19727" actId="2696"/>
        <pc:sldMkLst>
          <pc:docMk/>
          <pc:sldMk cId="3768293191" sldId="2147483368"/>
        </pc:sldMkLst>
      </pc:sldChg>
      <pc:sldChg chg="add del">
        <pc:chgData name="Masuda, Yusuke 2" userId="89e8346c-0ffa-4e0a-bf4c-6fc819ed007b" providerId="ADAL" clId="{9288546F-35D6-4D52-BA48-A384361A391F}" dt="2026-05-18T08:15:14.062" v="19727" actId="2696"/>
        <pc:sldMkLst>
          <pc:docMk/>
          <pc:sldMk cId="3824569522" sldId="2147483369"/>
        </pc:sldMkLst>
      </pc:sldChg>
      <pc:sldChg chg="addSp modSp add del mod">
        <pc:chgData name="Masuda, Yusuke 2" userId="89e8346c-0ffa-4e0a-bf4c-6fc819ed007b" providerId="ADAL" clId="{9288546F-35D6-4D52-BA48-A384361A391F}" dt="2026-05-18T08:15:14.062" v="19727" actId="2696"/>
        <pc:sldMkLst>
          <pc:docMk/>
          <pc:sldMk cId="3675764224" sldId="2147483370"/>
        </pc:sldMkLst>
      </pc:sldChg>
      <pc:sldChg chg="add del">
        <pc:chgData name="Masuda, Yusuke 2" userId="89e8346c-0ffa-4e0a-bf4c-6fc819ed007b" providerId="ADAL" clId="{9288546F-35D6-4D52-BA48-A384361A391F}" dt="2026-05-18T08:15:14.062" v="19727" actId="2696"/>
        <pc:sldMkLst>
          <pc:docMk/>
          <pc:sldMk cId="798117806" sldId="2147483371"/>
        </pc:sldMkLst>
      </pc:sldChg>
      <pc:sldChg chg="add del">
        <pc:chgData name="Masuda, Yusuke 2" userId="89e8346c-0ffa-4e0a-bf4c-6fc819ed007b" providerId="ADAL" clId="{9288546F-35D6-4D52-BA48-A384361A391F}" dt="2026-04-22T01:03:29.673" v="592"/>
        <pc:sldMkLst>
          <pc:docMk/>
          <pc:sldMk cId="334716947" sldId="2147483372"/>
        </pc:sldMkLst>
      </pc:sldChg>
      <pc:sldChg chg="addSp delSp modSp add mod">
        <pc:chgData name="Masuda, Yusuke 2" userId="89e8346c-0ffa-4e0a-bf4c-6fc819ed007b" providerId="ADAL" clId="{9288546F-35D6-4D52-BA48-A384361A391F}" dt="2026-05-20T02:30:01.611" v="34695" actId="20577"/>
        <pc:sldMkLst>
          <pc:docMk/>
          <pc:sldMk cId="1437167236" sldId="2147483372"/>
        </pc:sldMkLst>
        <pc:spChg chg="add del">
          <ac:chgData name="Masuda, Yusuke 2" userId="89e8346c-0ffa-4e0a-bf4c-6fc819ed007b" providerId="ADAL" clId="{9288546F-35D6-4D52-BA48-A384361A391F}" dt="2026-05-20T02:30:00.486" v="34693" actId="11529"/>
          <ac:spMkLst>
            <pc:docMk/>
            <pc:sldMk cId="1437167236" sldId="2147483372"/>
            <ac:spMk id="2" creationId="{692FD1FC-6A5C-5840-6903-199A9A9E8812}"/>
          </ac:spMkLst>
        </pc:spChg>
        <pc:spChg chg="add mod">
          <ac:chgData name="Masuda, Yusuke 2" userId="89e8346c-0ffa-4e0a-bf4c-6fc819ed007b" providerId="ADAL" clId="{9288546F-35D6-4D52-BA48-A384361A391F}" dt="2026-05-15T02:47:03.874" v="18702" actId="207"/>
          <ac:spMkLst>
            <pc:docMk/>
            <pc:sldMk cId="1437167236" sldId="2147483372"/>
            <ac:spMk id="5" creationId="{B83C9F13-6DC7-388F-2E52-E460FB543F54}"/>
          </ac:spMkLst>
        </pc:spChg>
        <pc:spChg chg="add mod">
          <ac:chgData name="Masuda, Yusuke 2" userId="89e8346c-0ffa-4e0a-bf4c-6fc819ed007b" providerId="ADAL" clId="{9288546F-35D6-4D52-BA48-A384361A391F}" dt="2026-05-19T04:42:03.803" v="33847" actId="20577"/>
          <ac:spMkLst>
            <pc:docMk/>
            <pc:sldMk cId="1437167236" sldId="2147483372"/>
            <ac:spMk id="8" creationId="{00E1ADC4-A51D-C215-5B99-4899BCFDA36F}"/>
          </ac:spMkLst>
        </pc:spChg>
        <pc:spChg chg="add mod ord">
          <ac:chgData name="Masuda, Yusuke 2" userId="89e8346c-0ffa-4e0a-bf4c-6fc819ed007b" providerId="ADAL" clId="{9288546F-35D6-4D52-BA48-A384361A391F}" dt="2026-05-15T02:39:52.486" v="18139" actId="1035"/>
          <ac:spMkLst>
            <pc:docMk/>
            <pc:sldMk cId="1437167236" sldId="2147483372"/>
            <ac:spMk id="9" creationId="{D1CA85D1-4E17-2A2F-CAD1-43FFC545DEE0}"/>
          </ac:spMkLst>
        </pc:spChg>
        <pc:spChg chg="add mod">
          <ac:chgData name="Masuda, Yusuke 2" userId="89e8346c-0ffa-4e0a-bf4c-6fc819ed007b" providerId="ADAL" clId="{9288546F-35D6-4D52-BA48-A384361A391F}" dt="2026-04-22T06:59:50.974" v="6140" actId="14100"/>
          <ac:spMkLst>
            <pc:docMk/>
            <pc:sldMk cId="1437167236" sldId="2147483372"/>
            <ac:spMk id="10" creationId="{A3BF9AD5-571B-AA20-67AB-335FB2703F5E}"/>
          </ac:spMkLst>
        </pc:spChg>
        <pc:spChg chg="mod">
          <ac:chgData name="Masuda, Yusuke 2" userId="89e8346c-0ffa-4e0a-bf4c-6fc819ed007b" providerId="ADAL" clId="{9288546F-35D6-4D52-BA48-A384361A391F}" dt="2026-04-22T06:58:51.241" v="6053" actId="1035"/>
          <ac:spMkLst>
            <pc:docMk/>
            <pc:sldMk cId="1437167236" sldId="2147483372"/>
            <ac:spMk id="11" creationId="{F2048EDC-A253-02F4-59A9-22B035252BC8}"/>
          </ac:spMkLst>
        </pc:spChg>
        <pc:spChg chg="add mod">
          <ac:chgData name="Masuda, Yusuke 2" userId="89e8346c-0ffa-4e0a-bf4c-6fc819ed007b" providerId="ADAL" clId="{9288546F-35D6-4D52-BA48-A384361A391F}" dt="2026-05-19T04:41:35.419" v="33817" actId="20577"/>
          <ac:spMkLst>
            <pc:docMk/>
            <pc:sldMk cId="1437167236" sldId="2147483372"/>
            <ac:spMk id="15" creationId="{71C85E8A-2595-6435-334C-33F71A8D5673}"/>
          </ac:spMkLst>
        </pc:spChg>
        <pc:spChg chg="add mod">
          <ac:chgData name="Masuda, Yusuke 2" userId="89e8346c-0ffa-4e0a-bf4c-6fc819ed007b" providerId="ADAL" clId="{9288546F-35D6-4D52-BA48-A384361A391F}" dt="2026-04-22T07:00:53.386" v="6189" actId="1035"/>
          <ac:spMkLst>
            <pc:docMk/>
            <pc:sldMk cId="1437167236" sldId="2147483372"/>
            <ac:spMk id="16" creationId="{AE2BBD6D-F22E-D250-19E6-318B444CA753}"/>
          </ac:spMkLst>
        </pc:spChg>
        <pc:spChg chg="mod">
          <ac:chgData name="Masuda, Yusuke 2" userId="89e8346c-0ffa-4e0a-bf4c-6fc819ed007b" providerId="ADAL" clId="{9288546F-35D6-4D52-BA48-A384361A391F}" dt="2026-04-22T07:48:31.592" v="8309" actId="13926"/>
          <ac:spMkLst>
            <pc:docMk/>
            <pc:sldMk cId="1437167236" sldId="2147483372"/>
            <ac:spMk id="17" creationId="{13979DB3-557D-916E-99CE-811794D70E69}"/>
          </ac:spMkLst>
        </pc:spChg>
        <pc:spChg chg="add mod">
          <ac:chgData name="Masuda, Yusuke 2" userId="89e8346c-0ffa-4e0a-bf4c-6fc819ed007b" providerId="ADAL" clId="{9288546F-35D6-4D52-BA48-A384361A391F}" dt="2026-05-20T02:30:01.611" v="34695" actId="20577"/>
          <ac:spMkLst>
            <pc:docMk/>
            <pc:sldMk cId="1437167236" sldId="2147483372"/>
            <ac:spMk id="18" creationId="{8880EE1B-BD1A-61E0-F672-DF6D0F94D45A}"/>
          </ac:spMkLst>
        </pc:spChg>
        <pc:spChg chg="add mod">
          <ac:chgData name="Masuda, Yusuke 2" userId="89e8346c-0ffa-4e0a-bf4c-6fc819ed007b" providerId="ADAL" clId="{9288546F-35D6-4D52-BA48-A384361A391F}" dt="2026-05-15T02:40:02.337" v="18142" actId="14100"/>
          <ac:spMkLst>
            <pc:docMk/>
            <pc:sldMk cId="1437167236" sldId="2147483372"/>
            <ac:spMk id="19" creationId="{BEB49D8E-CB8F-C13F-9B99-6C1BCDA7D96D}"/>
          </ac:spMkLst>
        </pc:spChg>
        <pc:spChg chg="add mod">
          <ac:chgData name="Masuda, Yusuke 2" userId="89e8346c-0ffa-4e0a-bf4c-6fc819ed007b" providerId="ADAL" clId="{9288546F-35D6-4D52-BA48-A384361A391F}" dt="2026-04-22T09:56:42.343" v="11656" actId="20577"/>
          <ac:spMkLst>
            <pc:docMk/>
            <pc:sldMk cId="1437167236" sldId="2147483372"/>
            <ac:spMk id="20" creationId="{5784F94C-F576-C997-FA94-C74C09C72C2E}"/>
          </ac:spMkLst>
        </pc:spChg>
        <pc:spChg chg="mod">
          <ac:chgData name="Masuda, Yusuke 2" userId="89e8346c-0ffa-4e0a-bf4c-6fc819ed007b" providerId="ADAL" clId="{9288546F-35D6-4D52-BA48-A384361A391F}" dt="2026-04-22T06:58:51.241" v="6053" actId="1035"/>
          <ac:spMkLst>
            <pc:docMk/>
            <pc:sldMk cId="1437167236" sldId="2147483372"/>
            <ac:spMk id="24" creationId="{1F595678-294B-BA73-E70E-BC9CECBD815E}"/>
          </ac:spMkLst>
        </pc:spChg>
        <pc:spChg chg="add mod">
          <ac:chgData name="Masuda, Yusuke 2" userId="89e8346c-0ffa-4e0a-bf4c-6fc819ed007b" providerId="ADAL" clId="{9288546F-35D6-4D52-BA48-A384361A391F}" dt="2026-05-19T04:42:13.139" v="33858" actId="113"/>
          <ac:spMkLst>
            <pc:docMk/>
            <pc:sldMk cId="1437167236" sldId="2147483372"/>
            <ac:spMk id="27" creationId="{0C33F8BB-619A-1650-0A20-EBCAC05C5828}"/>
          </ac:spMkLst>
        </pc:spChg>
        <pc:spChg chg="add mod">
          <ac:chgData name="Masuda, Yusuke 2" userId="89e8346c-0ffa-4e0a-bf4c-6fc819ed007b" providerId="ADAL" clId="{9288546F-35D6-4D52-BA48-A384361A391F}" dt="2026-04-22T06:58:02.098" v="6026" actId="1036"/>
          <ac:spMkLst>
            <pc:docMk/>
            <pc:sldMk cId="1437167236" sldId="2147483372"/>
            <ac:spMk id="28" creationId="{D26F674E-F3CB-A9F8-1D89-7E278EB9CF2B}"/>
          </ac:spMkLst>
        </pc:spChg>
        <pc:spChg chg="add mod">
          <ac:chgData name="Masuda, Yusuke 2" userId="89e8346c-0ffa-4e0a-bf4c-6fc819ed007b" providerId="ADAL" clId="{9288546F-35D6-4D52-BA48-A384361A391F}" dt="2026-05-15T02:39:52.486" v="18139" actId="1035"/>
          <ac:spMkLst>
            <pc:docMk/>
            <pc:sldMk cId="1437167236" sldId="2147483372"/>
            <ac:spMk id="29" creationId="{930A1949-D8BF-94A4-BBC4-A7E36678544B}"/>
          </ac:spMkLst>
        </pc:spChg>
        <pc:spChg chg="add mod">
          <ac:chgData name="Masuda, Yusuke 2" userId="89e8346c-0ffa-4e0a-bf4c-6fc819ed007b" providerId="ADAL" clId="{9288546F-35D6-4D52-BA48-A384361A391F}" dt="2026-05-19T04:42:31.111" v="33877" actId="20577"/>
          <ac:spMkLst>
            <pc:docMk/>
            <pc:sldMk cId="1437167236" sldId="2147483372"/>
            <ac:spMk id="30" creationId="{FCB81040-EC61-8BBE-FAB5-2718D2778AA6}"/>
          </ac:spMkLst>
        </pc:spChg>
        <pc:cxnChg chg="add mod">
          <ac:chgData name="Masuda, Yusuke 2" userId="89e8346c-0ffa-4e0a-bf4c-6fc819ed007b" providerId="ADAL" clId="{9288546F-35D6-4D52-BA48-A384361A391F}" dt="2026-05-15T02:39:56.937" v="18140" actId="14100"/>
          <ac:cxnSpMkLst>
            <pc:docMk/>
            <pc:sldMk cId="1437167236" sldId="2147483372"/>
            <ac:cxnSpMk id="32" creationId="{87F6AC7A-947F-46A8-FADA-6B28ECD89BFD}"/>
          </ac:cxnSpMkLst>
        </pc:cxnChg>
      </pc:sldChg>
      <pc:sldChg chg="addSp delSp modSp add mod">
        <pc:chgData name="Masuda, Yusuke 2" userId="89e8346c-0ffa-4e0a-bf4c-6fc819ed007b" providerId="ADAL" clId="{9288546F-35D6-4D52-BA48-A384361A391F}" dt="2026-05-19T04:43:08.495" v="33948" actId="2164"/>
        <pc:sldMkLst>
          <pc:docMk/>
          <pc:sldMk cId="1561641841" sldId="2147483373"/>
        </pc:sldMkLst>
        <pc:spChg chg="mod">
          <ac:chgData name="Masuda, Yusuke 2" userId="89e8346c-0ffa-4e0a-bf4c-6fc819ed007b" providerId="ADAL" clId="{9288546F-35D6-4D52-BA48-A384361A391F}" dt="2026-04-22T01:51:09.570" v="3902" actId="1035"/>
          <ac:spMkLst>
            <pc:docMk/>
            <pc:sldMk cId="1561641841" sldId="2147483373"/>
            <ac:spMk id="3" creationId="{FB615CC4-074A-C59B-849C-695834AA8479}"/>
          </ac:spMkLst>
        </pc:spChg>
        <pc:spChg chg="add mod">
          <ac:chgData name="Masuda, Yusuke 2" userId="89e8346c-0ffa-4e0a-bf4c-6fc819ed007b" providerId="ADAL" clId="{9288546F-35D6-4D52-BA48-A384361A391F}" dt="2026-05-15T02:47:13.381" v="18703" actId="207"/>
          <ac:spMkLst>
            <pc:docMk/>
            <pc:sldMk cId="1561641841" sldId="2147483373"/>
            <ac:spMk id="4" creationId="{DE0649F8-6C3F-2E4E-FCFB-C061B723E989}"/>
          </ac:spMkLst>
        </pc:spChg>
        <pc:spChg chg="add mod">
          <ac:chgData name="Masuda, Yusuke 2" userId="89e8346c-0ffa-4e0a-bf4c-6fc819ed007b" providerId="ADAL" clId="{9288546F-35D6-4D52-BA48-A384361A391F}" dt="2026-04-22T09:57:03.368" v="11665"/>
          <ac:spMkLst>
            <pc:docMk/>
            <pc:sldMk cId="1561641841" sldId="2147483373"/>
            <ac:spMk id="8" creationId="{38A3D28F-5536-50CA-F80B-0589E3DE67D2}"/>
          </ac:spMkLst>
        </pc:spChg>
        <pc:spChg chg="mod">
          <ac:chgData name="Masuda, Yusuke 2" userId="89e8346c-0ffa-4e0a-bf4c-6fc819ed007b" providerId="ADAL" clId="{9288546F-35D6-4D52-BA48-A384361A391F}" dt="2026-04-22T01:56:43.583" v="4308" actId="208"/>
          <ac:spMkLst>
            <pc:docMk/>
            <pc:sldMk cId="1561641841" sldId="2147483373"/>
            <ac:spMk id="9" creationId="{D6F985E8-A811-A084-73C9-C8D4056EB6E6}"/>
          </ac:spMkLst>
        </pc:spChg>
        <pc:spChg chg="mod">
          <ac:chgData name="Masuda, Yusuke 2" userId="89e8346c-0ffa-4e0a-bf4c-6fc819ed007b" providerId="ADAL" clId="{9288546F-35D6-4D52-BA48-A384361A391F}" dt="2026-04-22T01:56:48.002" v="4309" actId="1582"/>
          <ac:spMkLst>
            <pc:docMk/>
            <pc:sldMk cId="1561641841" sldId="2147483373"/>
            <ac:spMk id="10" creationId="{5F88BC6D-1F55-60EB-CBC8-7E638206381D}"/>
          </ac:spMkLst>
        </pc:spChg>
        <pc:spChg chg="add mod topLvl">
          <ac:chgData name="Masuda, Yusuke 2" userId="89e8346c-0ffa-4e0a-bf4c-6fc819ed007b" providerId="ADAL" clId="{9288546F-35D6-4D52-BA48-A384361A391F}" dt="2026-05-15T02:47:42.031" v="18704" actId="20577"/>
          <ac:spMkLst>
            <pc:docMk/>
            <pc:sldMk cId="1561641841" sldId="2147483373"/>
            <ac:spMk id="34" creationId="{99CB6B6E-91F7-375B-A587-F6D2DBE2FD02}"/>
          </ac:spMkLst>
        </pc:spChg>
        <pc:spChg chg="mod">
          <ac:chgData name="Masuda, Yusuke 2" userId="89e8346c-0ffa-4e0a-bf4c-6fc819ed007b" providerId="ADAL" clId="{9288546F-35D6-4D52-BA48-A384361A391F}" dt="2026-05-15T02:47:44.140" v="18705" actId="20577"/>
          <ac:spMkLst>
            <pc:docMk/>
            <pc:sldMk cId="1561641841" sldId="2147483373"/>
            <ac:spMk id="35" creationId="{8FB1141B-9D03-733D-BD18-39B5B0BC5CA1}"/>
          </ac:spMkLst>
        </pc:spChg>
        <pc:spChg chg="mod">
          <ac:chgData name="Masuda, Yusuke 2" userId="89e8346c-0ffa-4e0a-bf4c-6fc819ed007b" providerId="ADAL" clId="{9288546F-35D6-4D52-BA48-A384361A391F}" dt="2026-04-22T07:08:17.599" v="6410" actId="164"/>
          <ac:spMkLst>
            <pc:docMk/>
            <pc:sldMk cId="1561641841" sldId="2147483373"/>
            <ac:spMk id="36" creationId="{50AF7EBA-B822-ADDF-A7FF-7562664FB7CB}"/>
          </ac:spMkLst>
        </pc:spChg>
        <pc:spChg chg="add mod topLvl">
          <ac:chgData name="Masuda, Yusuke 2" userId="89e8346c-0ffa-4e0a-bf4c-6fc819ed007b" providerId="ADAL" clId="{9288546F-35D6-4D52-BA48-A384361A391F}" dt="2026-04-22T07:09:10.747" v="6523" actId="207"/>
          <ac:spMkLst>
            <pc:docMk/>
            <pc:sldMk cId="1561641841" sldId="2147483373"/>
            <ac:spMk id="37" creationId="{A07828E0-010B-69A2-129B-96B9B6F81B24}"/>
          </ac:spMkLst>
        </pc:spChg>
        <pc:spChg chg="add mod topLvl">
          <ac:chgData name="Masuda, Yusuke 2" userId="89e8346c-0ffa-4e0a-bf4c-6fc819ed007b" providerId="ADAL" clId="{9288546F-35D6-4D52-BA48-A384361A391F}" dt="2026-04-22T07:09:10.747" v="6523" actId="207"/>
          <ac:spMkLst>
            <pc:docMk/>
            <pc:sldMk cId="1561641841" sldId="2147483373"/>
            <ac:spMk id="38" creationId="{DC18D4D6-F49D-7B27-779D-353C00513C8B}"/>
          </ac:spMkLst>
        </pc:spChg>
        <pc:spChg chg="add mod topLvl">
          <ac:chgData name="Masuda, Yusuke 2" userId="89e8346c-0ffa-4e0a-bf4c-6fc819ed007b" providerId="ADAL" clId="{9288546F-35D6-4D52-BA48-A384361A391F}" dt="2026-04-22T07:09:10.747" v="6523" actId="207"/>
          <ac:spMkLst>
            <pc:docMk/>
            <pc:sldMk cId="1561641841" sldId="2147483373"/>
            <ac:spMk id="39" creationId="{B20C5307-968D-D132-4EF6-F630EA82AB12}"/>
          </ac:spMkLst>
        </pc:spChg>
        <pc:spChg chg="add mod topLvl">
          <ac:chgData name="Masuda, Yusuke 2" userId="89e8346c-0ffa-4e0a-bf4c-6fc819ed007b" providerId="ADAL" clId="{9288546F-35D6-4D52-BA48-A384361A391F}" dt="2026-04-22T07:09:03.850" v="6522" actId="1036"/>
          <ac:spMkLst>
            <pc:docMk/>
            <pc:sldMk cId="1561641841" sldId="2147483373"/>
            <ac:spMk id="41" creationId="{015BA85D-E1C8-F3BD-D929-968D9ED10566}"/>
          </ac:spMkLst>
        </pc:spChg>
        <pc:spChg chg="add mod topLvl">
          <ac:chgData name="Masuda, Yusuke 2" userId="89e8346c-0ffa-4e0a-bf4c-6fc819ed007b" providerId="ADAL" clId="{9288546F-35D6-4D52-BA48-A384361A391F}" dt="2026-05-15T02:42:25.535" v="18396" actId="14100"/>
          <ac:spMkLst>
            <pc:docMk/>
            <pc:sldMk cId="1561641841" sldId="2147483373"/>
            <ac:spMk id="42" creationId="{C8337DC0-9B56-AB10-F613-96E4B77B1610}"/>
          </ac:spMkLst>
        </pc:spChg>
        <pc:spChg chg="add mod topLvl">
          <ac:chgData name="Masuda, Yusuke 2" userId="89e8346c-0ffa-4e0a-bf4c-6fc819ed007b" providerId="ADAL" clId="{9288546F-35D6-4D52-BA48-A384361A391F}" dt="2026-05-15T02:42:25.535" v="18396" actId="14100"/>
          <ac:spMkLst>
            <pc:docMk/>
            <pc:sldMk cId="1561641841" sldId="2147483373"/>
            <ac:spMk id="43" creationId="{BBEA64A4-0FEF-2D11-3AC8-3186DE0CBB06}"/>
          </ac:spMkLst>
        </pc:spChg>
        <pc:spChg chg="mod topLvl">
          <ac:chgData name="Masuda, Yusuke 2" userId="89e8346c-0ffa-4e0a-bf4c-6fc819ed007b" providerId="ADAL" clId="{9288546F-35D6-4D52-BA48-A384361A391F}" dt="2026-05-15T02:42:21.666" v="18395" actId="1035"/>
          <ac:spMkLst>
            <pc:docMk/>
            <pc:sldMk cId="1561641841" sldId="2147483373"/>
            <ac:spMk id="44" creationId="{D4CBC450-4D8D-4FEA-92D0-CF51E1AC5E8A}"/>
          </ac:spMkLst>
        </pc:spChg>
        <pc:grpChg chg="add mod">
          <ac:chgData name="Masuda, Yusuke 2" userId="89e8346c-0ffa-4e0a-bf4c-6fc819ed007b" providerId="ADAL" clId="{9288546F-35D6-4D52-BA48-A384361A391F}" dt="2026-04-22T07:09:03.850" v="6522" actId="1036"/>
          <ac:grpSpMkLst>
            <pc:docMk/>
            <pc:sldMk cId="1561641841" sldId="2147483373"/>
            <ac:grpSpMk id="2" creationId="{BDF3261C-8031-104A-C109-49810E3287BA}"/>
          </ac:grpSpMkLst>
        </pc:grpChg>
        <pc:graphicFrameChg chg="add mod modGraphic">
          <ac:chgData name="Masuda, Yusuke 2" userId="89e8346c-0ffa-4e0a-bf4c-6fc819ed007b" providerId="ADAL" clId="{9288546F-35D6-4D52-BA48-A384361A391F}" dt="2026-05-19T04:43:08.495" v="33948" actId="2164"/>
          <ac:graphicFrameMkLst>
            <pc:docMk/>
            <pc:sldMk cId="1561641841" sldId="2147483373"/>
            <ac:graphicFrameMk id="12" creationId="{89E2CC7D-B893-2EAB-42E9-E4F5C6A8907A}"/>
          </ac:graphicFrameMkLst>
        </pc:graphicFrameChg>
        <pc:cxnChg chg="add mod">
          <ac:chgData name="Masuda, Yusuke 2" userId="89e8346c-0ffa-4e0a-bf4c-6fc819ed007b" providerId="ADAL" clId="{9288546F-35D6-4D52-BA48-A384361A391F}" dt="2026-05-15T02:42:33.529" v="18404" actId="14100"/>
          <ac:cxnSpMkLst>
            <pc:docMk/>
            <pc:sldMk cId="1561641841" sldId="2147483373"/>
            <ac:cxnSpMk id="54" creationId="{7639D88D-CA18-2A08-8A68-80AE2AAE384C}"/>
          </ac:cxnSpMkLst>
        </pc:cxnChg>
      </pc:sldChg>
      <pc:sldChg chg="add del">
        <pc:chgData name="Masuda, Yusuke 2" userId="89e8346c-0ffa-4e0a-bf4c-6fc819ed007b" providerId="ADAL" clId="{9288546F-35D6-4D52-BA48-A384361A391F}" dt="2026-04-22T01:03:29.673" v="592"/>
        <pc:sldMkLst>
          <pc:docMk/>
          <pc:sldMk cId="3506313792" sldId="2147483373"/>
        </pc:sldMkLst>
      </pc:sldChg>
      <pc:sldChg chg="addSp delSp modSp new mod">
        <pc:chgData name="Masuda, Yusuke 2" userId="89e8346c-0ffa-4e0a-bf4c-6fc819ed007b" providerId="ADAL" clId="{9288546F-35D6-4D52-BA48-A384361A391F}" dt="2026-05-19T04:43:18.615" v="33960" actId="20577"/>
        <pc:sldMkLst>
          <pc:docMk/>
          <pc:sldMk cId="2647847687" sldId="2147483374"/>
        </pc:sldMkLst>
        <pc:spChg chg="add mod">
          <ac:chgData name="Masuda, Yusuke 2" userId="89e8346c-0ffa-4e0a-bf4c-6fc819ed007b" providerId="ADAL" clId="{9288546F-35D6-4D52-BA48-A384361A391F}" dt="2026-05-15T02:46:21.672" v="18693" actId="207"/>
          <ac:spMkLst>
            <pc:docMk/>
            <pc:sldMk cId="2647847687" sldId="2147483374"/>
            <ac:spMk id="3" creationId="{746E8580-C525-A3E0-B88C-3A63E05899F1}"/>
          </ac:spMkLst>
        </pc:spChg>
        <pc:spChg chg="add del mod">
          <ac:chgData name="Masuda, Yusuke 2" userId="89e8346c-0ffa-4e0a-bf4c-6fc819ed007b" providerId="ADAL" clId="{9288546F-35D6-4D52-BA48-A384361A391F}" dt="2026-05-19T03:03:54.377" v="28348" actId="478"/>
          <ac:spMkLst>
            <pc:docMk/>
            <pc:sldMk cId="2647847687" sldId="2147483374"/>
            <ac:spMk id="4" creationId="{25D6BD1B-E8AF-C709-167A-0572A8F8A2AB}"/>
          </ac:spMkLst>
        </pc:spChg>
        <pc:spChg chg="add mod">
          <ac:chgData name="Masuda, Yusuke 2" userId="89e8346c-0ffa-4e0a-bf4c-6fc819ed007b" providerId="ADAL" clId="{9288546F-35D6-4D52-BA48-A384361A391F}" dt="2026-04-22T09:57:34.243" v="11676" actId="20577"/>
          <ac:spMkLst>
            <pc:docMk/>
            <pc:sldMk cId="2647847687" sldId="2147483374"/>
            <ac:spMk id="5" creationId="{A892B860-D8D8-814E-542A-9F57E60D9960}"/>
          </ac:spMkLst>
        </pc:spChg>
        <pc:spChg chg="add del mod">
          <ac:chgData name="Masuda, Yusuke 2" userId="89e8346c-0ffa-4e0a-bf4c-6fc819ed007b" providerId="ADAL" clId="{9288546F-35D6-4D52-BA48-A384361A391F}" dt="2026-05-19T03:03:56.214" v="28349" actId="478"/>
          <ac:spMkLst>
            <pc:docMk/>
            <pc:sldMk cId="2647847687" sldId="2147483374"/>
            <ac:spMk id="12" creationId="{40784E3A-53D9-3424-96B4-06BC5E1E388A}"/>
          </ac:spMkLst>
        </pc:spChg>
        <pc:spChg chg="add mod">
          <ac:chgData name="Masuda, Yusuke 2" userId="89e8346c-0ffa-4e0a-bf4c-6fc819ed007b" providerId="ADAL" clId="{9288546F-35D6-4D52-BA48-A384361A391F}" dt="2026-04-22T06:52:23.424" v="5961" actId="552"/>
          <ac:spMkLst>
            <pc:docMk/>
            <pc:sldMk cId="2647847687" sldId="2147483374"/>
            <ac:spMk id="16" creationId="{B4B18D5B-ED3E-B111-956C-6AD7588EDB64}"/>
          </ac:spMkLst>
        </pc:spChg>
        <pc:spChg chg="add mod">
          <ac:chgData name="Masuda, Yusuke 2" userId="89e8346c-0ffa-4e0a-bf4c-6fc819ed007b" providerId="ADAL" clId="{9288546F-35D6-4D52-BA48-A384361A391F}" dt="2026-05-15T02:43:57.240" v="18447" actId="14100"/>
          <ac:spMkLst>
            <pc:docMk/>
            <pc:sldMk cId="2647847687" sldId="2147483374"/>
            <ac:spMk id="17" creationId="{76C23589-2F8B-F5D3-141B-EA9F4267A88C}"/>
          </ac:spMkLst>
        </pc:spChg>
        <pc:spChg chg="add mod">
          <ac:chgData name="Masuda, Yusuke 2" userId="89e8346c-0ffa-4e0a-bf4c-6fc819ed007b" providerId="ADAL" clId="{9288546F-35D6-4D52-BA48-A384361A391F}" dt="2026-05-15T02:44:09.787" v="18450" actId="14100"/>
          <ac:spMkLst>
            <pc:docMk/>
            <pc:sldMk cId="2647847687" sldId="2147483374"/>
            <ac:spMk id="19" creationId="{7A11229B-E4E2-701D-1A32-DB49CD3141F9}"/>
          </ac:spMkLst>
        </pc:spChg>
        <pc:spChg chg="add del mod">
          <ac:chgData name="Masuda, Yusuke 2" userId="89e8346c-0ffa-4e0a-bf4c-6fc819ed007b" providerId="ADAL" clId="{9288546F-35D6-4D52-BA48-A384361A391F}" dt="2026-05-19T03:03:52.643" v="28347" actId="478"/>
          <ac:spMkLst>
            <pc:docMk/>
            <pc:sldMk cId="2647847687" sldId="2147483374"/>
            <ac:spMk id="20" creationId="{3ADEE19A-B2A1-36AA-2EFD-1784824AF33E}"/>
          </ac:spMkLst>
        </pc:spChg>
        <pc:spChg chg="add del mod">
          <ac:chgData name="Masuda, Yusuke 2" userId="89e8346c-0ffa-4e0a-bf4c-6fc819ed007b" providerId="ADAL" clId="{9288546F-35D6-4D52-BA48-A384361A391F}" dt="2026-05-19T03:03:56.214" v="28349" actId="478"/>
          <ac:spMkLst>
            <pc:docMk/>
            <pc:sldMk cId="2647847687" sldId="2147483374"/>
            <ac:spMk id="22" creationId="{698532D7-0AAE-8BEC-420D-91C4778E1C8E}"/>
          </ac:spMkLst>
        </pc:spChg>
        <pc:graphicFrameChg chg="add mod modGraphic">
          <ac:chgData name="Masuda, Yusuke 2" userId="89e8346c-0ffa-4e0a-bf4c-6fc819ed007b" providerId="ADAL" clId="{9288546F-35D6-4D52-BA48-A384361A391F}" dt="2026-05-19T04:43:18.615" v="33960" actId="20577"/>
          <ac:graphicFrameMkLst>
            <pc:docMk/>
            <pc:sldMk cId="2647847687" sldId="2147483374"/>
            <ac:graphicFrameMk id="13" creationId="{2937528A-CC9B-D66B-0792-E72C0F5E71C7}"/>
          </ac:graphicFrameMkLst>
        </pc:graphicFrameChg>
        <pc:graphicFrameChg chg="add mod modGraphic">
          <ac:chgData name="Masuda, Yusuke 2" userId="89e8346c-0ffa-4e0a-bf4c-6fc819ed007b" providerId="ADAL" clId="{9288546F-35D6-4D52-BA48-A384361A391F}" dt="2026-05-19T02:58:10.785" v="28109" actId="121"/>
          <ac:graphicFrameMkLst>
            <pc:docMk/>
            <pc:sldMk cId="2647847687" sldId="2147483374"/>
            <ac:graphicFrameMk id="18" creationId="{AB9B8056-0565-FAE1-130E-E6EAD45A2887}"/>
          </ac:graphicFrameMkLst>
        </pc:graphicFrameChg>
      </pc:sldChg>
      <pc:sldChg chg="addSp delSp modSp add mod">
        <pc:chgData name="Masuda, Yusuke 2" userId="89e8346c-0ffa-4e0a-bf4c-6fc819ed007b" providerId="ADAL" clId="{9288546F-35D6-4D52-BA48-A384361A391F}" dt="2026-05-19T02:43:31.188" v="27592" actId="20577"/>
        <pc:sldMkLst>
          <pc:docMk/>
          <pc:sldMk cId="2490997215" sldId="2147483375"/>
        </pc:sldMkLst>
        <pc:spChg chg="add mod">
          <ac:chgData name="Masuda, Yusuke 2" userId="89e8346c-0ffa-4e0a-bf4c-6fc819ed007b" providerId="ADAL" clId="{9288546F-35D6-4D52-BA48-A384361A391F}" dt="2026-05-15T02:41:33.549" v="18347"/>
          <ac:spMkLst>
            <pc:docMk/>
            <pc:sldMk cId="2490997215" sldId="2147483375"/>
            <ac:spMk id="3" creationId="{AAF513A6-BDC9-048C-4937-C4CE0BF79C4C}"/>
          </ac:spMkLst>
        </pc:spChg>
        <pc:spChg chg="add mod">
          <ac:chgData name="Masuda, Yusuke 2" userId="89e8346c-0ffa-4e0a-bf4c-6fc819ed007b" providerId="ADAL" clId="{9288546F-35D6-4D52-BA48-A384361A391F}" dt="2026-04-22T09:57:26.712" v="11670"/>
          <ac:spMkLst>
            <pc:docMk/>
            <pc:sldMk cId="2490997215" sldId="2147483375"/>
            <ac:spMk id="5" creationId="{A37CD4AB-43BC-C917-3683-2C2C3E79D1BD}"/>
          </ac:spMkLst>
        </pc:spChg>
        <pc:spChg chg="mod">
          <ac:chgData name="Masuda, Yusuke 2" userId="89e8346c-0ffa-4e0a-bf4c-6fc819ed007b" providerId="ADAL" clId="{9288546F-35D6-4D52-BA48-A384361A391F}" dt="2026-05-19T02:43:31.188" v="27592" actId="20577"/>
          <ac:spMkLst>
            <pc:docMk/>
            <pc:sldMk cId="2490997215" sldId="2147483375"/>
            <ac:spMk id="8" creationId="{BD3D1ED0-AF1C-F1FF-56A0-FC62493A54B7}"/>
          </ac:spMkLst>
        </pc:spChg>
        <pc:spChg chg="mod">
          <ac:chgData name="Masuda, Yusuke 2" userId="89e8346c-0ffa-4e0a-bf4c-6fc819ed007b" providerId="ADAL" clId="{9288546F-35D6-4D52-BA48-A384361A391F}" dt="2026-04-22T06:44:42.052" v="5688" actId="20577"/>
          <ac:spMkLst>
            <pc:docMk/>
            <pc:sldMk cId="2490997215" sldId="2147483375"/>
            <ac:spMk id="12" creationId="{497133BE-6F61-B47B-6C83-7FCE9FD64014}"/>
          </ac:spMkLst>
        </pc:spChg>
      </pc:sldChg>
      <pc:sldChg chg="addSp delSp modSp new mod ord">
        <pc:chgData name="Masuda, Yusuke 2" userId="89e8346c-0ffa-4e0a-bf4c-6fc819ed007b" providerId="ADAL" clId="{9288546F-35D6-4D52-BA48-A384361A391F}" dt="2026-05-20T04:46:44.648" v="34896" actId="478"/>
        <pc:sldMkLst>
          <pc:docMk/>
          <pc:sldMk cId="2636932066" sldId="2147483376"/>
        </pc:sldMkLst>
        <pc:spChg chg="add mod">
          <ac:chgData name="Masuda, Yusuke 2" userId="89e8346c-0ffa-4e0a-bf4c-6fc819ed007b" providerId="ADAL" clId="{9288546F-35D6-4D52-BA48-A384361A391F}" dt="2026-05-15T02:53:55.530" v="18748"/>
          <ac:spMkLst>
            <pc:docMk/>
            <pc:sldMk cId="2636932066" sldId="2147483376"/>
            <ac:spMk id="3" creationId="{18C1E9A3-C1A9-81D3-6B7A-0390593B20E2}"/>
          </ac:spMkLst>
        </pc:spChg>
        <pc:spChg chg="add del mod">
          <ac:chgData name="Masuda, Yusuke 2" userId="89e8346c-0ffa-4e0a-bf4c-6fc819ed007b" providerId="ADAL" clId="{9288546F-35D6-4D52-BA48-A384361A391F}" dt="2026-05-20T02:31:21.789" v="34734" actId="478"/>
          <ac:spMkLst>
            <pc:docMk/>
            <pc:sldMk cId="2636932066" sldId="2147483376"/>
            <ac:spMk id="4" creationId="{991B4928-2217-B6B8-93AF-EE9DFDE24EFB}"/>
          </ac:spMkLst>
        </pc:spChg>
        <pc:spChg chg="add del mod">
          <ac:chgData name="Masuda, Yusuke 2" userId="89e8346c-0ffa-4e0a-bf4c-6fc819ed007b" providerId="ADAL" clId="{9288546F-35D6-4D52-BA48-A384361A391F}" dt="2026-05-20T04:46:44.648" v="34896" actId="478"/>
          <ac:spMkLst>
            <pc:docMk/>
            <pc:sldMk cId="2636932066" sldId="2147483376"/>
            <ac:spMk id="5" creationId="{EF5D12E1-3E94-1BA6-640F-64EC0FC88281}"/>
          </ac:spMkLst>
        </pc:spChg>
        <pc:spChg chg="add mod">
          <ac:chgData name="Masuda, Yusuke 2" userId="89e8346c-0ffa-4e0a-bf4c-6fc819ed007b" providerId="ADAL" clId="{9288546F-35D6-4D52-BA48-A384361A391F}" dt="2026-04-22T07:47:06.397" v="8088" actId="478"/>
          <ac:spMkLst>
            <pc:docMk/>
            <pc:sldMk cId="2636932066" sldId="2147483376"/>
            <ac:spMk id="6" creationId="{0FA82888-B090-1AE2-D714-14F87275C1BD}"/>
          </ac:spMkLst>
        </pc:spChg>
        <pc:spChg chg="add mod">
          <ac:chgData name="Masuda, Yusuke 2" userId="89e8346c-0ffa-4e0a-bf4c-6fc819ed007b" providerId="ADAL" clId="{9288546F-35D6-4D52-BA48-A384361A391F}" dt="2026-04-23T01:44:13.728" v="12947" actId="20577"/>
          <ac:spMkLst>
            <pc:docMk/>
            <pc:sldMk cId="2636932066" sldId="2147483376"/>
            <ac:spMk id="7" creationId="{9B47E73F-8ABB-985F-1101-361D260CF885}"/>
          </ac:spMkLst>
        </pc:spChg>
        <pc:spChg chg="add mod">
          <ac:chgData name="Masuda, Yusuke 2" userId="89e8346c-0ffa-4e0a-bf4c-6fc819ed007b" providerId="ADAL" clId="{9288546F-35D6-4D52-BA48-A384361A391F}" dt="2026-04-23T01:44:08.473" v="12946" actId="20577"/>
          <ac:spMkLst>
            <pc:docMk/>
            <pc:sldMk cId="2636932066" sldId="2147483376"/>
            <ac:spMk id="8" creationId="{F97F2995-EE6A-028E-4D0A-960F13D2CAB2}"/>
          </ac:spMkLst>
        </pc:spChg>
        <pc:spChg chg="add mod">
          <ac:chgData name="Masuda, Yusuke 2" userId="89e8346c-0ffa-4e0a-bf4c-6fc819ed007b" providerId="ADAL" clId="{9288546F-35D6-4D52-BA48-A384361A391F}" dt="2026-05-20T04:46:39.700" v="34895" actId="13926"/>
          <ac:spMkLst>
            <pc:docMk/>
            <pc:sldMk cId="2636932066" sldId="2147483376"/>
            <ac:spMk id="10" creationId="{B10B13DC-FEE1-7D1F-FD60-B04DB2BD6626}"/>
          </ac:spMkLst>
        </pc:spChg>
      </pc:sldChg>
      <pc:sldChg chg="addSp delSp modSp new mod ord">
        <pc:chgData name="Masuda, Yusuke 2" userId="89e8346c-0ffa-4e0a-bf4c-6fc819ed007b" providerId="ADAL" clId="{9288546F-35D6-4D52-BA48-A384361A391F}" dt="2026-05-19T04:39:48.826" v="33732" actId="2164"/>
        <pc:sldMkLst>
          <pc:docMk/>
          <pc:sldMk cId="1769790090" sldId="2147483377"/>
        </pc:sldMkLst>
        <pc:spChg chg="add mod">
          <ac:chgData name="Masuda, Yusuke 2" userId="89e8346c-0ffa-4e0a-bf4c-6fc819ed007b" providerId="ADAL" clId="{9288546F-35D6-4D52-BA48-A384361A391F}" dt="2026-05-15T02:35:54.422" v="17894" actId="207"/>
          <ac:spMkLst>
            <pc:docMk/>
            <pc:sldMk cId="1769790090" sldId="2147483377"/>
            <ac:spMk id="3" creationId="{A4A29418-E407-495A-919B-93C0FB9AB5F2}"/>
          </ac:spMkLst>
        </pc:spChg>
        <pc:spChg chg="add mod">
          <ac:chgData name="Masuda, Yusuke 2" userId="89e8346c-0ffa-4e0a-bf4c-6fc819ed007b" providerId="ADAL" clId="{9288546F-35D6-4D52-BA48-A384361A391F}" dt="2026-04-23T05:35:57.242" v="14775" actId="14100"/>
          <ac:spMkLst>
            <pc:docMk/>
            <pc:sldMk cId="1769790090" sldId="2147483377"/>
            <ac:spMk id="7" creationId="{D192FBBC-001A-8529-3E0D-5E13D6A6BC79}"/>
          </ac:spMkLst>
        </pc:spChg>
        <pc:spChg chg="add mod">
          <ac:chgData name="Masuda, Yusuke 2" userId="89e8346c-0ffa-4e0a-bf4c-6fc819ed007b" providerId="ADAL" clId="{9288546F-35D6-4D52-BA48-A384361A391F}" dt="2026-04-22T09:56:09.155" v="11620" actId="20577"/>
          <ac:spMkLst>
            <pc:docMk/>
            <pc:sldMk cId="1769790090" sldId="2147483377"/>
            <ac:spMk id="8" creationId="{EA8DBB1E-6E71-4E50-485F-D1320555E69B}"/>
          </ac:spMkLst>
        </pc:spChg>
        <pc:graphicFrameChg chg="add mod modGraphic">
          <ac:chgData name="Masuda, Yusuke 2" userId="89e8346c-0ffa-4e0a-bf4c-6fc819ed007b" providerId="ADAL" clId="{9288546F-35D6-4D52-BA48-A384361A391F}" dt="2026-05-19T04:39:48.826" v="33732" actId="2164"/>
          <ac:graphicFrameMkLst>
            <pc:docMk/>
            <pc:sldMk cId="1769790090" sldId="2147483377"/>
            <ac:graphicFrameMk id="6" creationId="{618EF29C-880B-335C-6FB3-CBE92FA59955}"/>
          </ac:graphicFrameMkLst>
        </pc:graphicFrameChg>
      </pc:sldChg>
      <pc:sldChg chg="addSp modSp add del mod">
        <pc:chgData name="Masuda, Yusuke 2" userId="89e8346c-0ffa-4e0a-bf4c-6fc819ed007b" providerId="ADAL" clId="{9288546F-35D6-4D52-BA48-A384361A391F}" dt="2026-04-22T09:49:28.754" v="11543" actId="47"/>
        <pc:sldMkLst>
          <pc:docMk/>
          <pc:sldMk cId="4110853574" sldId="2147483378"/>
        </pc:sldMkLst>
      </pc:sldChg>
      <pc:sldChg chg="addSp delSp modSp add mod ord">
        <pc:chgData name="Masuda, Yusuke 2" userId="89e8346c-0ffa-4e0a-bf4c-6fc819ed007b" providerId="ADAL" clId="{9288546F-35D6-4D52-BA48-A384361A391F}" dt="2026-05-19T04:38:08.064" v="33629" actId="20577"/>
        <pc:sldMkLst>
          <pc:docMk/>
          <pc:sldMk cId="2458811946" sldId="2147483379"/>
        </pc:sldMkLst>
        <pc:spChg chg="mod">
          <ac:chgData name="Masuda, Yusuke 2" userId="89e8346c-0ffa-4e0a-bf4c-6fc819ed007b" providerId="ADAL" clId="{9288546F-35D6-4D52-BA48-A384361A391F}" dt="2026-05-15T01:56:43.572" v="16806" actId="20577"/>
          <ac:spMkLst>
            <pc:docMk/>
            <pc:sldMk cId="2458811946" sldId="2147483379"/>
            <ac:spMk id="4" creationId="{FC00C537-541B-2B7D-C102-FA1DDCD0F59D}"/>
          </ac:spMkLst>
        </pc:spChg>
        <pc:spChg chg="add mod">
          <ac:chgData name="Masuda, Yusuke 2" userId="89e8346c-0ffa-4e0a-bf4c-6fc819ed007b" providerId="ADAL" clId="{9288546F-35D6-4D52-BA48-A384361A391F}" dt="2026-05-15T01:58:52.186" v="16894" actId="115"/>
          <ac:spMkLst>
            <pc:docMk/>
            <pc:sldMk cId="2458811946" sldId="2147483379"/>
            <ac:spMk id="8" creationId="{54613172-75FE-3B1C-F91C-E39114F85808}"/>
          </ac:spMkLst>
        </pc:spChg>
        <pc:spChg chg="add mod">
          <ac:chgData name="Masuda, Yusuke 2" userId="89e8346c-0ffa-4e0a-bf4c-6fc819ed007b" providerId="ADAL" clId="{9288546F-35D6-4D52-BA48-A384361A391F}" dt="2026-05-19T04:38:08.064" v="33629" actId="20577"/>
          <ac:spMkLst>
            <pc:docMk/>
            <pc:sldMk cId="2458811946" sldId="2147483379"/>
            <ac:spMk id="13" creationId="{F916DE94-C065-CBBC-2A1D-7A87F97348D9}"/>
          </ac:spMkLst>
        </pc:spChg>
      </pc:sldChg>
      <pc:sldChg chg="addSp delSp modSp add del mod">
        <pc:chgData name="Masuda, Yusuke 2" userId="89e8346c-0ffa-4e0a-bf4c-6fc819ed007b" providerId="ADAL" clId="{9288546F-35D6-4D52-BA48-A384361A391F}" dt="2026-04-24T09:57:20.353" v="15542" actId="2696"/>
        <pc:sldMkLst>
          <pc:docMk/>
          <pc:sldMk cId="3569039982" sldId="2147483380"/>
        </pc:sldMkLst>
      </pc:sldChg>
      <pc:sldChg chg="addSp delSp modSp new mod">
        <pc:chgData name="Masuda, Yusuke 2" userId="89e8346c-0ffa-4e0a-bf4c-6fc819ed007b" providerId="ADAL" clId="{9288546F-35D6-4D52-BA48-A384361A391F}" dt="2026-05-19T04:43:51.455" v="34031" actId="20577"/>
        <pc:sldMkLst>
          <pc:docMk/>
          <pc:sldMk cId="2775241172" sldId="2147483381"/>
        </pc:sldMkLst>
        <pc:spChg chg="add mod">
          <ac:chgData name="Masuda, Yusuke 2" userId="89e8346c-0ffa-4e0a-bf4c-6fc819ed007b" providerId="ADAL" clId="{9288546F-35D6-4D52-BA48-A384361A391F}" dt="2026-04-24T10:07:10.638" v="16141" actId="20577"/>
          <ac:spMkLst>
            <pc:docMk/>
            <pc:sldMk cId="2775241172" sldId="2147483381"/>
            <ac:spMk id="3" creationId="{61E19E9D-84C8-47EB-F18E-1E026DE305A4}"/>
          </ac:spMkLst>
        </pc:spChg>
        <pc:spChg chg="add mod">
          <ac:chgData name="Masuda, Yusuke 2" userId="89e8346c-0ffa-4e0a-bf4c-6fc819ed007b" providerId="ADAL" clId="{9288546F-35D6-4D52-BA48-A384361A391F}" dt="2026-04-24T10:06:34.770" v="16049" actId="14100"/>
          <ac:spMkLst>
            <pc:docMk/>
            <pc:sldMk cId="2775241172" sldId="2147483381"/>
            <ac:spMk id="4" creationId="{E0956648-BA87-7267-16D1-728F6BED53D9}"/>
          </ac:spMkLst>
        </pc:spChg>
        <pc:spChg chg="add mod">
          <ac:chgData name="Masuda, Yusuke 2" userId="89e8346c-0ffa-4e0a-bf4c-6fc819ed007b" providerId="ADAL" clId="{9288546F-35D6-4D52-BA48-A384361A391F}" dt="2026-04-23T07:01:10.430" v="14838" actId="1035"/>
          <ac:spMkLst>
            <pc:docMk/>
            <pc:sldMk cId="2775241172" sldId="2147483381"/>
            <ac:spMk id="6" creationId="{84C249B5-6B2F-E2E9-7CC9-43006E1F49F0}"/>
          </ac:spMkLst>
        </pc:spChg>
        <pc:spChg chg="add mod">
          <ac:chgData name="Masuda, Yusuke 2" userId="89e8346c-0ffa-4e0a-bf4c-6fc819ed007b" providerId="ADAL" clId="{9288546F-35D6-4D52-BA48-A384361A391F}" dt="2026-04-24T10:06:02.349" v="16033" actId="1037"/>
          <ac:spMkLst>
            <pc:docMk/>
            <pc:sldMk cId="2775241172" sldId="2147483381"/>
            <ac:spMk id="7" creationId="{EF8F0B8A-5E61-DF4B-3B7D-07831DE0AD2E}"/>
          </ac:spMkLst>
        </pc:spChg>
        <pc:spChg chg="add mod">
          <ac:chgData name="Masuda, Yusuke 2" userId="89e8346c-0ffa-4e0a-bf4c-6fc819ed007b" providerId="ADAL" clId="{9288546F-35D6-4D52-BA48-A384361A391F}" dt="2026-04-24T10:06:21.102" v="16047" actId="120"/>
          <ac:spMkLst>
            <pc:docMk/>
            <pc:sldMk cId="2775241172" sldId="2147483381"/>
            <ac:spMk id="8" creationId="{D0E9C39E-CDA3-B074-4258-8B96C22C279A}"/>
          </ac:spMkLst>
        </pc:spChg>
        <pc:spChg chg="add mod">
          <ac:chgData name="Masuda, Yusuke 2" userId="89e8346c-0ffa-4e0a-bf4c-6fc819ed007b" providerId="ADAL" clId="{9288546F-35D6-4D52-BA48-A384361A391F}" dt="2026-04-27T03:44:53.332" v="16234" actId="20577"/>
          <ac:spMkLst>
            <pc:docMk/>
            <pc:sldMk cId="2775241172" sldId="2147483381"/>
            <ac:spMk id="9" creationId="{E8AEFB8C-BE30-2342-36F3-9945DEF12CCD}"/>
          </ac:spMkLst>
        </pc:spChg>
        <pc:spChg chg="add mod">
          <ac:chgData name="Masuda, Yusuke 2" userId="89e8346c-0ffa-4e0a-bf4c-6fc819ed007b" providerId="ADAL" clId="{9288546F-35D6-4D52-BA48-A384361A391F}" dt="2026-04-23T01:44:50.302" v="13029" actId="20577"/>
          <ac:spMkLst>
            <pc:docMk/>
            <pc:sldMk cId="2775241172" sldId="2147483381"/>
            <ac:spMk id="10" creationId="{075F6607-6609-DF0B-50E8-99076D4CD90C}"/>
          </ac:spMkLst>
        </pc:spChg>
        <pc:spChg chg="add mod">
          <ac:chgData name="Masuda, Yusuke 2" userId="89e8346c-0ffa-4e0a-bf4c-6fc819ed007b" providerId="ADAL" clId="{9288546F-35D6-4D52-BA48-A384361A391F}" dt="2026-05-15T02:49:28.231" v="18745"/>
          <ac:spMkLst>
            <pc:docMk/>
            <pc:sldMk cId="2775241172" sldId="2147483381"/>
            <ac:spMk id="11" creationId="{04037AC7-0860-EC91-0ED8-631D4B4130D4}"/>
          </ac:spMkLst>
        </pc:spChg>
        <pc:spChg chg="add mod">
          <ac:chgData name="Masuda, Yusuke 2" userId="89e8346c-0ffa-4e0a-bf4c-6fc819ed007b" providerId="ADAL" clId="{9288546F-35D6-4D52-BA48-A384361A391F}" dt="2026-04-24T10:05:58.643" v="16011" actId="14100"/>
          <ac:spMkLst>
            <pc:docMk/>
            <pc:sldMk cId="2775241172" sldId="2147483381"/>
            <ac:spMk id="13" creationId="{A68D0384-233D-7967-70D0-AFA933A831E7}"/>
          </ac:spMkLst>
        </pc:spChg>
        <pc:spChg chg="add mod">
          <ac:chgData name="Masuda, Yusuke 2" userId="89e8346c-0ffa-4e0a-bf4c-6fc819ed007b" providerId="ADAL" clId="{9288546F-35D6-4D52-BA48-A384361A391F}" dt="2026-04-24T10:05:57.030" v="16010" actId="1035"/>
          <ac:spMkLst>
            <pc:docMk/>
            <pc:sldMk cId="2775241172" sldId="2147483381"/>
            <ac:spMk id="14" creationId="{0C9CCA52-283C-3C49-5624-9C86DBED6269}"/>
          </ac:spMkLst>
        </pc:spChg>
        <pc:spChg chg="add mod">
          <ac:chgData name="Masuda, Yusuke 2" userId="89e8346c-0ffa-4e0a-bf4c-6fc819ed007b" providerId="ADAL" clId="{9288546F-35D6-4D52-BA48-A384361A391F}" dt="2026-04-23T05:24:51.414" v="14026" actId="552"/>
          <ac:spMkLst>
            <pc:docMk/>
            <pc:sldMk cId="2775241172" sldId="2147483381"/>
            <ac:spMk id="19" creationId="{7E60D9C0-629A-1F77-1FD6-C26A7DCCA0AA}"/>
          </ac:spMkLst>
        </pc:spChg>
        <pc:spChg chg="add mod">
          <ac:chgData name="Masuda, Yusuke 2" userId="89e8346c-0ffa-4e0a-bf4c-6fc819ed007b" providerId="ADAL" clId="{9288546F-35D6-4D52-BA48-A384361A391F}" dt="2026-04-24T10:05:43.797" v="15992" actId="553"/>
          <ac:spMkLst>
            <pc:docMk/>
            <pc:sldMk cId="2775241172" sldId="2147483381"/>
            <ac:spMk id="21" creationId="{7B333F75-24F4-2115-DC20-4A079ECAD42D}"/>
          </ac:spMkLst>
        </pc:spChg>
        <pc:spChg chg="add mod">
          <ac:chgData name="Masuda, Yusuke 2" userId="89e8346c-0ffa-4e0a-bf4c-6fc819ed007b" providerId="ADAL" clId="{9288546F-35D6-4D52-BA48-A384361A391F}" dt="2026-05-07T11:44:51.073" v="16466" actId="207"/>
          <ac:spMkLst>
            <pc:docMk/>
            <pc:sldMk cId="2775241172" sldId="2147483381"/>
            <ac:spMk id="22" creationId="{D612CA7C-0132-D981-94C9-64CBBD03AE3A}"/>
          </ac:spMkLst>
        </pc:spChg>
        <pc:spChg chg="add mod">
          <ac:chgData name="Masuda, Yusuke 2" userId="89e8346c-0ffa-4e0a-bf4c-6fc819ed007b" providerId="ADAL" clId="{9288546F-35D6-4D52-BA48-A384361A391F}" dt="2026-04-23T05:23:32.179" v="13921" actId="554"/>
          <ac:spMkLst>
            <pc:docMk/>
            <pc:sldMk cId="2775241172" sldId="2147483381"/>
            <ac:spMk id="23" creationId="{37E46EFB-EEFF-4C66-F6FD-B325753C1F0F}"/>
          </ac:spMkLst>
        </pc:spChg>
        <pc:spChg chg="add mod">
          <ac:chgData name="Masuda, Yusuke 2" userId="89e8346c-0ffa-4e0a-bf4c-6fc819ed007b" providerId="ADAL" clId="{9288546F-35D6-4D52-BA48-A384361A391F}" dt="2026-04-23T05:26:35.525" v="14062" actId="20577"/>
          <ac:spMkLst>
            <pc:docMk/>
            <pc:sldMk cId="2775241172" sldId="2147483381"/>
            <ac:spMk id="24" creationId="{56F1C6BC-A9DD-F389-7D64-C380B9021E64}"/>
          </ac:spMkLst>
        </pc:spChg>
        <pc:spChg chg="add mod">
          <ac:chgData name="Masuda, Yusuke 2" userId="89e8346c-0ffa-4e0a-bf4c-6fc819ed007b" providerId="ADAL" clId="{9288546F-35D6-4D52-BA48-A384361A391F}" dt="2026-04-23T07:01:50.298" v="14907" actId="20577"/>
          <ac:spMkLst>
            <pc:docMk/>
            <pc:sldMk cId="2775241172" sldId="2147483381"/>
            <ac:spMk id="25" creationId="{49ADA3EC-8740-BBEE-CA77-2A8321089003}"/>
          </ac:spMkLst>
        </pc:spChg>
        <pc:spChg chg="add mod">
          <ac:chgData name="Masuda, Yusuke 2" userId="89e8346c-0ffa-4e0a-bf4c-6fc819ed007b" providerId="ADAL" clId="{9288546F-35D6-4D52-BA48-A384361A391F}" dt="2026-04-23T05:23:20.715" v="13917" actId="14100"/>
          <ac:spMkLst>
            <pc:docMk/>
            <pc:sldMk cId="2775241172" sldId="2147483381"/>
            <ac:spMk id="26" creationId="{056FEBB1-2A70-5EC2-C297-406C92C14FFE}"/>
          </ac:spMkLst>
        </pc:spChg>
        <pc:spChg chg="add mod">
          <ac:chgData name="Masuda, Yusuke 2" userId="89e8346c-0ffa-4e0a-bf4c-6fc819ed007b" providerId="ADAL" clId="{9288546F-35D6-4D52-BA48-A384361A391F}" dt="2026-04-23T05:25:26.248" v="14042" actId="555"/>
          <ac:spMkLst>
            <pc:docMk/>
            <pc:sldMk cId="2775241172" sldId="2147483381"/>
            <ac:spMk id="27" creationId="{B947D969-4845-06D1-A4BA-D84703E609BE}"/>
          </ac:spMkLst>
        </pc:spChg>
        <pc:spChg chg="add mod topLvl">
          <ac:chgData name="Masuda, Yusuke 2" userId="89e8346c-0ffa-4e0a-bf4c-6fc819ed007b" providerId="ADAL" clId="{9288546F-35D6-4D52-BA48-A384361A391F}" dt="2026-04-23T05:26:38.037" v="14064" actId="20577"/>
          <ac:spMkLst>
            <pc:docMk/>
            <pc:sldMk cId="2775241172" sldId="2147483381"/>
            <ac:spMk id="28" creationId="{DBA2CD0E-422B-F2E9-2A3D-5FBA8256C608}"/>
          </ac:spMkLst>
        </pc:spChg>
        <pc:spChg chg="add mod topLvl">
          <ac:chgData name="Masuda, Yusuke 2" userId="89e8346c-0ffa-4e0a-bf4c-6fc819ed007b" providerId="ADAL" clId="{9288546F-35D6-4D52-BA48-A384361A391F}" dt="2026-04-23T05:23:38.893" v="13922" actId="165"/>
          <ac:spMkLst>
            <pc:docMk/>
            <pc:sldMk cId="2775241172" sldId="2147483381"/>
            <ac:spMk id="29" creationId="{894358B9-FFF6-CCAC-6049-093715F8D9FC}"/>
          </ac:spMkLst>
        </pc:spChg>
        <pc:spChg chg="add mod topLvl">
          <ac:chgData name="Masuda, Yusuke 2" userId="89e8346c-0ffa-4e0a-bf4c-6fc819ed007b" providerId="ADAL" clId="{9288546F-35D6-4D52-BA48-A384361A391F}" dt="2026-04-23T05:25:50.622" v="14052" actId="555"/>
          <ac:spMkLst>
            <pc:docMk/>
            <pc:sldMk cId="2775241172" sldId="2147483381"/>
            <ac:spMk id="30" creationId="{3C729B6F-76FE-7EA7-98B8-1053CF707A10}"/>
          </ac:spMkLst>
        </pc:spChg>
        <pc:spChg chg="add mod topLvl">
          <ac:chgData name="Masuda, Yusuke 2" userId="89e8346c-0ffa-4e0a-bf4c-6fc819ed007b" providerId="ADAL" clId="{9288546F-35D6-4D52-BA48-A384361A391F}" dt="2026-05-19T04:43:40.195" v="34019" actId="20577"/>
          <ac:spMkLst>
            <pc:docMk/>
            <pc:sldMk cId="2775241172" sldId="2147483381"/>
            <ac:spMk id="32" creationId="{FF43B82F-3330-F2C0-3113-204D23DF30E0}"/>
          </ac:spMkLst>
        </pc:spChg>
        <pc:spChg chg="add mod topLvl">
          <ac:chgData name="Masuda, Yusuke 2" userId="89e8346c-0ffa-4e0a-bf4c-6fc819ed007b" providerId="ADAL" clId="{9288546F-35D6-4D52-BA48-A384361A391F}" dt="2026-05-19T04:43:40.980" v="34020" actId="20577"/>
          <ac:spMkLst>
            <pc:docMk/>
            <pc:sldMk cId="2775241172" sldId="2147483381"/>
            <ac:spMk id="34" creationId="{CFB6AC29-719D-BE87-0AB7-C1DC5B0A67DA}"/>
          </ac:spMkLst>
        </pc:spChg>
        <pc:spChg chg="add mod topLvl">
          <ac:chgData name="Masuda, Yusuke 2" userId="89e8346c-0ffa-4e0a-bf4c-6fc819ed007b" providerId="ADAL" clId="{9288546F-35D6-4D52-BA48-A384361A391F}" dt="2026-05-19T04:43:41.987" v="34021" actId="20577"/>
          <ac:spMkLst>
            <pc:docMk/>
            <pc:sldMk cId="2775241172" sldId="2147483381"/>
            <ac:spMk id="35" creationId="{546D0456-0A53-BDAC-EA9F-92CACF815C35}"/>
          </ac:spMkLst>
        </pc:spChg>
        <pc:spChg chg="mod topLvl">
          <ac:chgData name="Masuda, Yusuke 2" userId="89e8346c-0ffa-4e0a-bf4c-6fc819ed007b" providerId="ADAL" clId="{9288546F-35D6-4D52-BA48-A384361A391F}" dt="2026-05-19T04:43:46.166" v="34025" actId="20577"/>
          <ac:spMkLst>
            <pc:docMk/>
            <pc:sldMk cId="2775241172" sldId="2147483381"/>
            <ac:spMk id="38" creationId="{764DFF48-AEF7-3880-4BE0-D9227701B948}"/>
          </ac:spMkLst>
        </pc:spChg>
        <pc:spChg chg="mod topLvl">
          <ac:chgData name="Masuda, Yusuke 2" userId="89e8346c-0ffa-4e0a-bf4c-6fc819ed007b" providerId="ADAL" clId="{9288546F-35D6-4D52-BA48-A384361A391F}" dt="2026-05-19T04:43:47.071" v="34026" actId="20577"/>
          <ac:spMkLst>
            <pc:docMk/>
            <pc:sldMk cId="2775241172" sldId="2147483381"/>
            <ac:spMk id="39" creationId="{A85FE66C-A848-2466-6E71-1174BC7861FE}"/>
          </ac:spMkLst>
        </pc:spChg>
        <pc:spChg chg="mod topLvl">
          <ac:chgData name="Masuda, Yusuke 2" userId="89e8346c-0ffa-4e0a-bf4c-6fc819ed007b" providerId="ADAL" clId="{9288546F-35D6-4D52-BA48-A384361A391F}" dt="2026-05-19T04:43:47.770" v="34027" actId="20577"/>
          <ac:spMkLst>
            <pc:docMk/>
            <pc:sldMk cId="2775241172" sldId="2147483381"/>
            <ac:spMk id="40" creationId="{8A2530C5-F8AE-72FB-9DAD-4CEFD4DCA225}"/>
          </ac:spMkLst>
        </pc:spChg>
        <pc:spChg chg="mod topLvl">
          <ac:chgData name="Masuda, Yusuke 2" userId="89e8346c-0ffa-4e0a-bf4c-6fc819ed007b" providerId="ADAL" clId="{9288546F-35D6-4D52-BA48-A384361A391F}" dt="2026-05-19T04:43:43.089" v="34022" actId="20577"/>
          <ac:spMkLst>
            <pc:docMk/>
            <pc:sldMk cId="2775241172" sldId="2147483381"/>
            <ac:spMk id="42" creationId="{A7B6B193-3B59-3FDB-8339-CBCD1522E369}"/>
          </ac:spMkLst>
        </pc:spChg>
        <pc:spChg chg="mod topLvl">
          <ac:chgData name="Masuda, Yusuke 2" userId="89e8346c-0ffa-4e0a-bf4c-6fc819ed007b" providerId="ADAL" clId="{9288546F-35D6-4D52-BA48-A384361A391F}" dt="2026-05-19T04:43:44.132" v="34023" actId="20577"/>
          <ac:spMkLst>
            <pc:docMk/>
            <pc:sldMk cId="2775241172" sldId="2147483381"/>
            <ac:spMk id="43" creationId="{C25945C4-4FD9-A9EE-5431-6CA0552B46B2}"/>
          </ac:spMkLst>
        </pc:spChg>
        <pc:spChg chg="mod topLvl">
          <ac:chgData name="Masuda, Yusuke 2" userId="89e8346c-0ffa-4e0a-bf4c-6fc819ed007b" providerId="ADAL" clId="{9288546F-35D6-4D52-BA48-A384361A391F}" dt="2026-05-19T04:43:45.074" v="34024" actId="20577"/>
          <ac:spMkLst>
            <pc:docMk/>
            <pc:sldMk cId="2775241172" sldId="2147483381"/>
            <ac:spMk id="44" creationId="{1D3944CB-6C74-26CF-80B6-91B462062E1D}"/>
          </ac:spMkLst>
        </pc:spChg>
        <pc:spChg chg="mod topLvl">
          <ac:chgData name="Masuda, Yusuke 2" userId="89e8346c-0ffa-4e0a-bf4c-6fc819ed007b" providerId="ADAL" clId="{9288546F-35D6-4D52-BA48-A384361A391F}" dt="2026-05-19T04:43:48.668" v="34028" actId="20577"/>
          <ac:spMkLst>
            <pc:docMk/>
            <pc:sldMk cId="2775241172" sldId="2147483381"/>
            <ac:spMk id="46" creationId="{AD625118-066A-2864-6889-B7F5FBCE88C5}"/>
          </ac:spMkLst>
        </pc:spChg>
        <pc:spChg chg="mod topLvl">
          <ac:chgData name="Masuda, Yusuke 2" userId="89e8346c-0ffa-4e0a-bf4c-6fc819ed007b" providerId="ADAL" clId="{9288546F-35D6-4D52-BA48-A384361A391F}" dt="2026-05-19T04:43:50.057" v="34029" actId="20577"/>
          <ac:spMkLst>
            <pc:docMk/>
            <pc:sldMk cId="2775241172" sldId="2147483381"/>
            <ac:spMk id="47" creationId="{9B71D29A-3389-0615-3A10-7666870086DC}"/>
          </ac:spMkLst>
        </pc:spChg>
        <pc:spChg chg="mod topLvl">
          <ac:chgData name="Masuda, Yusuke 2" userId="89e8346c-0ffa-4e0a-bf4c-6fc819ed007b" providerId="ADAL" clId="{9288546F-35D6-4D52-BA48-A384361A391F}" dt="2026-05-19T04:43:50.685" v="34030" actId="20577"/>
          <ac:spMkLst>
            <pc:docMk/>
            <pc:sldMk cId="2775241172" sldId="2147483381"/>
            <ac:spMk id="48" creationId="{4C48DAB3-769E-5EFD-CB5D-C7F7B7C35EB9}"/>
          </ac:spMkLst>
        </pc:spChg>
        <pc:spChg chg="add mod">
          <ac:chgData name="Masuda, Yusuke 2" userId="89e8346c-0ffa-4e0a-bf4c-6fc819ed007b" providerId="ADAL" clId="{9288546F-35D6-4D52-BA48-A384361A391F}" dt="2026-05-19T04:43:34.093" v="34015" actId="20577"/>
          <ac:spMkLst>
            <pc:docMk/>
            <pc:sldMk cId="2775241172" sldId="2147483381"/>
            <ac:spMk id="55" creationId="{72F352F0-647A-E7BA-1539-F34B819CEC72}"/>
          </ac:spMkLst>
        </pc:spChg>
        <pc:spChg chg="add del mod">
          <ac:chgData name="Masuda, Yusuke 2" userId="89e8346c-0ffa-4e0a-bf4c-6fc819ed007b" providerId="ADAL" clId="{9288546F-35D6-4D52-BA48-A384361A391F}" dt="2026-05-19T04:43:51.455" v="34031" actId="20577"/>
          <ac:spMkLst>
            <pc:docMk/>
            <pc:sldMk cId="2775241172" sldId="2147483381"/>
            <ac:spMk id="56" creationId="{3C63B1BA-8D74-608B-58B7-44E9FE4A731D}"/>
          </ac:spMkLst>
        </pc:spChg>
        <pc:graphicFrameChg chg="add mod modGraphic">
          <ac:chgData name="Masuda, Yusuke 2" userId="89e8346c-0ffa-4e0a-bf4c-6fc819ed007b" providerId="ADAL" clId="{9288546F-35D6-4D52-BA48-A384361A391F}" dt="2026-04-27T06:45:26.422" v="16320" actId="20577"/>
          <ac:graphicFrameMkLst>
            <pc:docMk/>
            <pc:sldMk cId="2775241172" sldId="2147483381"/>
            <ac:graphicFrameMk id="5" creationId="{88E2307C-2195-6C73-978C-DC4D4701A62D}"/>
          </ac:graphicFrameMkLst>
        </pc:graphicFrameChg>
      </pc:sldChg>
      <pc:sldChg chg="add del">
        <pc:chgData name="Masuda, Yusuke 2" userId="89e8346c-0ffa-4e0a-bf4c-6fc819ed007b" providerId="ADAL" clId="{9288546F-35D6-4D52-BA48-A384361A391F}" dt="2026-05-18T08:15:14.062" v="19727" actId="2696"/>
        <pc:sldMkLst>
          <pc:docMk/>
          <pc:sldMk cId="129344587" sldId="2147483382"/>
        </pc:sldMkLst>
      </pc:sldChg>
      <pc:sldChg chg="modSp add del mod">
        <pc:chgData name="Masuda, Yusuke 2" userId="89e8346c-0ffa-4e0a-bf4c-6fc819ed007b" providerId="ADAL" clId="{9288546F-35D6-4D52-BA48-A384361A391F}" dt="2026-05-18T08:15:14.062" v="19727" actId="2696"/>
        <pc:sldMkLst>
          <pc:docMk/>
          <pc:sldMk cId="1397508556" sldId="2147483383"/>
        </pc:sldMkLst>
      </pc:sldChg>
      <pc:sldChg chg="modSp add del mod">
        <pc:chgData name="Masuda, Yusuke 2" userId="89e8346c-0ffa-4e0a-bf4c-6fc819ed007b" providerId="ADAL" clId="{9288546F-35D6-4D52-BA48-A384361A391F}" dt="2026-05-18T08:15:14.062" v="19727" actId="2696"/>
        <pc:sldMkLst>
          <pc:docMk/>
          <pc:sldMk cId="68407493" sldId="2147483384"/>
        </pc:sldMkLst>
      </pc:sldChg>
      <pc:sldChg chg="modSp add del mod">
        <pc:chgData name="Masuda, Yusuke 2" userId="89e8346c-0ffa-4e0a-bf4c-6fc819ed007b" providerId="ADAL" clId="{9288546F-35D6-4D52-BA48-A384361A391F}" dt="2026-05-18T08:15:14.062" v="19727" actId="2696"/>
        <pc:sldMkLst>
          <pc:docMk/>
          <pc:sldMk cId="134222602" sldId="2147483385"/>
        </pc:sldMkLst>
      </pc:sldChg>
      <pc:sldChg chg="add del">
        <pc:chgData name="Masuda, Yusuke 2" userId="89e8346c-0ffa-4e0a-bf4c-6fc819ed007b" providerId="ADAL" clId="{9288546F-35D6-4D52-BA48-A384361A391F}" dt="2026-05-18T08:15:14.062" v="19727" actId="2696"/>
        <pc:sldMkLst>
          <pc:docMk/>
          <pc:sldMk cId="3607546064" sldId="2147483386"/>
        </pc:sldMkLst>
      </pc:sldChg>
      <pc:sldChg chg="add del">
        <pc:chgData name="Masuda, Yusuke 2" userId="89e8346c-0ffa-4e0a-bf4c-6fc819ed007b" providerId="ADAL" clId="{9288546F-35D6-4D52-BA48-A384361A391F}" dt="2026-05-18T08:15:14.062" v="19727" actId="2696"/>
        <pc:sldMkLst>
          <pc:docMk/>
          <pc:sldMk cId="2245951692" sldId="2147483387"/>
        </pc:sldMkLst>
      </pc:sldChg>
      <pc:sldChg chg="modSp add del mod">
        <pc:chgData name="Masuda, Yusuke 2" userId="89e8346c-0ffa-4e0a-bf4c-6fc819ed007b" providerId="ADAL" clId="{9288546F-35D6-4D52-BA48-A384361A391F}" dt="2026-05-18T08:15:14.062" v="19727" actId="2696"/>
        <pc:sldMkLst>
          <pc:docMk/>
          <pc:sldMk cId="2001352548" sldId="2147483388"/>
        </pc:sldMkLst>
      </pc:sldChg>
      <pc:sldChg chg="modSp add del mod">
        <pc:chgData name="Masuda, Yusuke 2" userId="89e8346c-0ffa-4e0a-bf4c-6fc819ed007b" providerId="ADAL" clId="{9288546F-35D6-4D52-BA48-A384361A391F}" dt="2026-05-18T08:15:14.062" v="19727" actId="2696"/>
        <pc:sldMkLst>
          <pc:docMk/>
          <pc:sldMk cId="447866214" sldId="2147483389"/>
        </pc:sldMkLst>
      </pc:sldChg>
      <pc:sldChg chg="addSp delSp modSp add del mod">
        <pc:chgData name="Masuda, Yusuke 2" userId="89e8346c-0ffa-4e0a-bf4c-6fc819ed007b" providerId="ADAL" clId="{9288546F-35D6-4D52-BA48-A384361A391F}" dt="2026-04-24T09:56:56.780" v="15531" actId="2696"/>
        <pc:sldMkLst>
          <pc:docMk/>
          <pc:sldMk cId="3293752875" sldId="2147483390"/>
        </pc:sldMkLst>
      </pc:sldChg>
      <pc:sldChg chg="addSp delSp modSp add mod">
        <pc:chgData name="Masuda, Yusuke 2" userId="89e8346c-0ffa-4e0a-bf4c-6fc819ed007b" providerId="ADAL" clId="{9288546F-35D6-4D52-BA48-A384361A391F}" dt="2026-05-20T04:46:09.033" v="34889" actId="478"/>
        <pc:sldMkLst>
          <pc:docMk/>
          <pc:sldMk cId="3750156254" sldId="2147483391"/>
        </pc:sldMkLst>
        <pc:spChg chg="mod">
          <ac:chgData name="Masuda, Yusuke 2" userId="89e8346c-0ffa-4e0a-bf4c-6fc819ed007b" providerId="ADAL" clId="{9288546F-35D6-4D52-BA48-A384361A391F}" dt="2026-05-20T02:34:10.714" v="34859" actId="20577"/>
          <ac:spMkLst>
            <pc:docMk/>
            <pc:sldMk cId="3750156254" sldId="2147483391"/>
            <ac:spMk id="4" creationId="{DF2990AF-6FC9-491A-D44D-F2502F7B9E60}"/>
          </ac:spMkLst>
        </pc:spChg>
        <pc:spChg chg="add del mod">
          <ac:chgData name="Masuda, Yusuke 2" userId="89e8346c-0ffa-4e0a-bf4c-6fc819ed007b" providerId="ADAL" clId="{9288546F-35D6-4D52-BA48-A384361A391F}" dt="2026-05-20T04:46:09.033" v="34889" actId="478"/>
          <ac:spMkLst>
            <pc:docMk/>
            <pc:sldMk cId="3750156254" sldId="2147483391"/>
            <ac:spMk id="5" creationId="{3D831E2F-C2A5-A0EA-063F-AF991BDD8C36}"/>
          </ac:spMkLst>
        </pc:spChg>
        <pc:spChg chg="add del mod">
          <ac:chgData name="Masuda, Yusuke 2" userId="89e8346c-0ffa-4e0a-bf4c-6fc819ed007b" providerId="ADAL" clId="{9288546F-35D6-4D52-BA48-A384361A391F}" dt="2026-05-20T01:36:18.975" v="34676" actId="478"/>
          <ac:spMkLst>
            <pc:docMk/>
            <pc:sldMk cId="3750156254" sldId="2147483391"/>
            <ac:spMk id="5" creationId="{8E4CFD1D-8335-5428-951E-919B2782CFF1}"/>
          </ac:spMkLst>
        </pc:spChg>
        <pc:spChg chg="mod">
          <ac:chgData name="Masuda, Yusuke 2" userId="89e8346c-0ffa-4e0a-bf4c-6fc819ed007b" providerId="ADAL" clId="{9288546F-35D6-4D52-BA48-A384361A391F}" dt="2026-05-19T04:38:58.915" v="33688" actId="120"/>
          <ac:spMkLst>
            <pc:docMk/>
            <pc:sldMk cId="3750156254" sldId="2147483391"/>
            <ac:spMk id="6" creationId="{F47F03C1-D3FC-593A-CB4D-7BD1A6D1BB64}"/>
          </ac:spMkLst>
        </pc:spChg>
        <pc:spChg chg="mod">
          <ac:chgData name="Masuda, Yusuke 2" userId="89e8346c-0ffa-4e0a-bf4c-6fc819ed007b" providerId="ADAL" clId="{9288546F-35D6-4D52-BA48-A384361A391F}" dt="2026-05-15T02:00:25.619" v="16952" actId="20577"/>
          <ac:spMkLst>
            <pc:docMk/>
            <pc:sldMk cId="3750156254" sldId="2147483391"/>
            <ac:spMk id="8" creationId="{E89393AF-DEC1-E4DF-C111-1F51DD9BA366}"/>
          </ac:spMkLst>
        </pc:spChg>
        <pc:spChg chg="mod topLvl">
          <ac:chgData name="Masuda, Yusuke 2" userId="89e8346c-0ffa-4e0a-bf4c-6fc819ed007b" providerId="ADAL" clId="{9288546F-35D6-4D52-BA48-A384361A391F}" dt="2026-04-24T09:57:12.538" v="15540" actId="165"/>
          <ac:spMkLst>
            <pc:docMk/>
            <pc:sldMk cId="3750156254" sldId="2147483391"/>
            <ac:spMk id="9" creationId="{57C8DF75-79D2-8FDD-2642-8D4EB0F278DA}"/>
          </ac:spMkLst>
        </pc:spChg>
        <pc:spChg chg="mod">
          <ac:chgData name="Masuda, Yusuke 2" userId="89e8346c-0ffa-4e0a-bf4c-6fc819ed007b" providerId="ADAL" clId="{9288546F-35D6-4D52-BA48-A384361A391F}" dt="2026-05-19T04:38:58.915" v="33688" actId="120"/>
          <ac:spMkLst>
            <pc:docMk/>
            <pc:sldMk cId="3750156254" sldId="2147483391"/>
            <ac:spMk id="11" creationId="{FD83E224-AE05-C698-339E-C84799937A45}"/>
          </ac:spMkLst>
        </pc:spChg>
        <pc:spChg chg="mod topLvl">
          <ac:chgData name="Masuda, Yusuke 2" userId="89e8346c-0ffa-4e0a-bf4c-6fc819ed007b" providerId="ADAL" clId="{9288546F-35D6-4D52-BA48-A384361A391F}" dt="2026-04-24T09:57:12.538" v="15540" actId="165"/>
          <ac:spMkLst>
            <pc:docMk/>
            <pc:sldMk cId="3750156254" sldId="2147483391"/>
            <ac:spMk id="12" creationId="{65C077A9-A079-C7EC-7A9C-C031F8EC61A1}"/>
          </ac:spMkLst>
        </pc:spChg>
        <pc:spChg chg="mod">
          <ac:chgData name="Masuda, Yusuke 2" userId="89e8346c-0ffa-4e0a-bf4c-6fc819ed007b" providerId="ADAL" clId="{9288546F-35D6-4D52-BA48-A384361A391F}" dt="2026-05-19T04:38:58.915" v="33688" actId="120"/>
          <ac:spMkLst>
            <pc:docMk/>
            <pc:sldMk cId="3750156254" sldId="2147483391"/>
            <ac:spMk id="14" creationId="{18F0694A-9640-4201-5E39-184D06DE1600}"/>
          </ac:spMkLst>
        </pc:spChg>
        <pc:spChg chg="add mod">
          <ac:chgData name="Masuda, Yusuke 2" userId="89e8346c-0ffa-4e0a-bf4c-6fc819ed007b" providerId="ADAL" clId="{9288546F-35D6-4D52-BA48-A384361A391F}" dt="2026-05-15T02:36:30.921" v="17907" actId="20577"/>
          <ac:spMkLst>
            <pc:docMk/>
            <pc:sldMk cId="3750156254" sldId="2147483391"/>
            <ac:spMk id="16" creationId="{F1B910AC-9B6E-9008-BC71-E01EDD2BC393}"/>
          </ac:spMkLst>
        </pc:spChg>
        <pc:spChg chg="mod topLvl">
          <ac:chgData name="Masuda, Yusuke 2" userId="89e8346c-0ffa-4e0a-bf4c-6fc819ed007b" providerId="ADAL" clId="{9288546F-35D6-4D52-BA48-A384361A391F}" dt="2026-05-19T04:38:58.915" v="33688" actId="120"/>
          <ac:spMkLst>
            <pc:docMk/>
            <pc:sldMk cId="3750156254" sldId="2147483391"/>
            <ac:spMk id="17" creationId="{20996B69-CB9B-C091-6B2F-F7557AF51C10}"/>
          </ac:spMkLst>
        </pc:spChg>
        <pc:spChg chg="mod topLvl">
          <ac:chgData name="Masuda, Yusuke 2" userId="89e8346c-0ffa-4e0a-bf4c-6fc819ed007b" providerId="ADAL" clId="{9288546F-35D6-4D52-BA48-A384361A391F}" dt="2026-05-15T02:00:23.594" v="16951" actId="20577"/>
          <ac:spMkLst>
            <pc:docMk/>
            <pc:sldMk cId="3750156254" sldId="2147483391"/>
            <ac:spMk id="19" creationId="{BAC39E94-7946-FDA2-4E3F-44FB6E3D7D3D}"/>
          </ac:spMkLst>
        </pc:spChg>
        <pc:spChg chg="mod topLvl">
          <ac:chgData name="Masuda, Yusuke 2" userId="89e8346c-0ffa-4e0a-bf4c-6fc819ed007b" providerId="ADAL" clId="{9288546F-35D6-4D52-BA48-A384361A391F}" dt="2026-04-24T09:57:12.538" v="15540" actId="165"/>
          <ac:spMkLst>
            <pc:docMk/>
            <pc:sldMk cId="3750156254" sldId="2147483391"/>
            <ac:spMk id="22" creationId="{1879E75C-CCAA-5413-87BB-776FE54DAE61}"/>
          </ac:spMkLst>
        </pc:spChg>
        <pc:spChg chg="mod">
          <ac:chgData name="Masuda, Yusuke 2" userId="89e8346c-0ffa-4e0a-bf4c-6fc819ed007b" providerId="ADAL" clId="{9288546F-35D6-4D52-BA48-A384361A391F}" dt="2026-05-19T04:39:02.358" v="33690" actId="20577"/>
          <ac:spMkLst>
            <pc:docMk/>
            <pc:sldMk cId="3750156254" sldId="2147483391"/>
            <ac:spMk id="25" creationId="{A45C4D1A-78B9-981C-4C2B-D4B27F5A0CCC}"/>
          </ac:spMkLst>
        </pc:spChg>
        <pc:spChg chg="mod">
          <ac:chgData name="Masuda, Yusuke 2" userId="89e8346c-0ffa-4e0a-bf4c-6fc819ed007b" providerId="ADAL" clId="{9288546F-35D6-4D52-BA48-A384361A391F}" dt="2026-05-19T04:38:58.915" v="33688" actId="120"/>
          <ac:spMkLst>
            <pc:docMk/>
            <pc:sldMk cId="3750156254" sldId="2147483391"/>
            <ac:spMk id="27" creationId="{010E7F8A-1711-B87C-BAEC-6778A9E9CF93}"/>
          </ac:spMkLst>
        </pc:spChg>
        <pc:spChg chg="mod topLvl">
          <ac:chgData name="Masuda, Yusuke 2" userId="89e8346c-0ffa-4e0a-bf4c-6fc819ed007b" providerId="ADAL" clId="{9288546F-35D6-4D52-BA48-A384361A391F}" dt="2026-05-19T04:38:58.915" v="33688" actId="120"/>
          <ac:spMkLst>
            <pc:docMk/>
            <pc:sldMk cId="3750156254" sldId="2147483391"/>
            <ac:spMk id="28" creationId="{2749B06A-79A0-BC59-9BC1-6116E8820986}"/>
          </ac:spMkLst>
        </pc:spChg>
        <pc:spChg chg="mod">
          <ac:chgData name="Masuda, Yusuke 2" userId="89e8346c-0ffa-4e0a-bf4c-6fc819ed007b" providerId="ADAL" clId="{9288546F-35D6-4D52-BA48-A384361A391F}" dt="2026-05-19T04:38:58.915" v="33688" actId="120"/>
          <ac:spMkLst>
            <pc:docMk/>
            <pc:sldMk cId="3750156254" sldId="2147483391"/>
            <ac:spMk id="29" creationId="{2EB90C9C-83E3-EBB7-88EF-42F26E8A340B}"/>
          </ac:spMkLst>
        </pc:spChg>
        <pc:spChg chg="mod topLvl">
          <ac:chgData name="Masuda, Yusuke 2" userId="89e8346c-0ffa-4e0a-bf4c-6fc819ed007b" providerId="ADAL" clId="{9288546F-35D6-4D52-BA48-A384361A391F}" dt="2026-04-24T09:57:12.538" v="15540" actId="165"/>
          <ac:spMkLst>
            <pc:docMk/>
            <pc:sldMk cId="3750156254" sldId="2147483391"/>
            <ac:spMk id="30" creationId="{5E404A98-2032-4E37-6598-A6FB08CDF362}"/>
          </ac:spMkLst>
        </pc:spChg>
        <pc:spChg chg="mod">
          <ac:chgData name="Masuda, Yusuke 2" userId="89e8346c-0ffa-4e0a-bf4c-6fc819ed007b" providerId="ADAL" clId="{9288546F-35D6-4D52-BA48-A384361A391F}" dt="2026-05-19T04:38:58.915" v="33688" actId="120"/>
          <ac:spMkLst>
            <pc:docMk/>
            <pc:sldMk cId="3750156254" sldId="2147483391"/>
            <ac:spMk id="33" creationId="{A1709447-687F-B3F1-659B-ABCC671B7602}"/>
          </ac:spMkLst>
        </pc:spChg>
        <pc:spChg chg="mod topLvl">
          <ac:chgData name="Masuda, Yusuke 2" userId="89e8346c-0ffa-4e0a-bf4c-6fc819ed007b" providerId="ADAL" clId="{9288546F-35D6-4D52-BA48-A384361A391F}" dt="2026-04-24T09:57:12.538" v="15540" actId="165"/>
          <ac:spMkLst>
            <pc:docMk/>
            <pc:sldMk cId="3750156254" sldId="2147483391"/>
            <ac:spMk id="34" creationId="{29A952EF-199E-6ABC-C908-65849A433796}"/>
          </ac:spMkLst>
        </pc:spChg>
        <pc:spChg chg="add mod">
          <ac:chgData name="Masuda, Yusuke 2" userId="89e8346c-0ffa-4e0a-bf4c-6fc819ed007b" providerId="ADAL" clId="{9288546F-35D6-4D52-BA48-A384361A391F}" dt="2026-04-24T09:58:42.452" v="15566" actId="14100"/>
          <ac:spMkLst>
            <pc:docMk/>
            <pc:sldMk cId="3750156254" sldId="2147483391"/>
            <ac:spMk id="35" creationId="{03A1F1D7-9C97-BF83-60B9-18BD409B2EBD}"/>
          </ac:spMkLst>
        </pc:spChg>
        <pc:spChg chg="mod topLvl">
          <ac:chgData name="Masuda, Yusuke 2" userId="89e8346c-0ffa-4e0a-bf4c-6fc819ed007b" providerId="ADAL" clId="{9288546F-35D6-4D52-BA48-A384361A391F}" dt="2026-04-24T09:57:12.538" v="15540" actId="165"/>
          <ac:spMkLst>
            <pc:docMk/>
            <pc:sldMk cId="3750156254" sldId="2147483391"/>
            <ac:spMk id="42" creationId="{29E450BA-8CAB-8C76-79DB-D1E84AC3E979}"/>
          </ac:spMkLst>
        </pc:spChg>
        <pc:spChg chg="mod">
          <ac:chgData name="Masuda, Yusuke 2" userId="89e8346c-0ffa-4e0a-bf4c-6fc819ed007b" providerId="ADAL" clId="{9288546F-35D6-4D52-BA48-A384361A391F}" dt="2026-05-19T04:38:58.915" v="33688" actId="120"/>
          <ac:spMkLst>
            <pc:docMk/>
            <pc:sldMk cId="3750156254" sldId="2147483391"/>
            <ac:spMk id="43" creationId="{B346B0B7-0430-6068-F1AC-58B2D5E3F852}"/>
          </ac:spMkLst>
        </pc:spChg>
        <pc:spChg chg="mod topLvl">
          <ac:chgData name="Masuda, Yusuke 2" userId="89e8346c-0ffa-4e0a-bf4c-6fc819ed007b" providerId="ADAL" clId="{9288546F-35D6-4D52-BA48-A384361A391F}" dt="2026-04-24T09:57:12.538" v="15540" actId="165"/>
          <ac:spMkLst>
            <pc:docMk/>
            <pc:sldMk cId="3750156254" sldId="2147483391"/>
            <ac:spMk id="44" creationId="{48C54FC7-FB60-1470-C427-421A7436F444}"/>
          </ac:spMkLst>
        </pc:spChg>
        <pc:spChg chg="mod">
          <ac:chgData name="Masuda, Yusuke 2" userId="89e8346c-0ffa-4e0a-bf4c-6fc819ed007b" providerId="ADAL" clId="{9288546F-35D6-4D52-BA48-A384361A391F}" dt="2026-05-19T04:38:58.915" v="33688" actId="120"/>
          <ac:spMkLst>
            <pc:docMk/>
            <pc:sldMk cId="3750156254" sldId="2147483391"/>
            <ac:spMk id="45" creationId="{05CAE3BC-8093-33EC-582D-120B0FC671B5}"/>
          </ac:spMkLst>
        </pc:spChg>
      </pc:sldChg>
      <pc:sldChg chg="addSp delSp modSp add mod">
        <pc:chgData name="Masuda, Yusuke 2" userId="89e8346c-0ffa-4e0a-bf4c-6fc819ed007b" providerId="ADAL" clId="{9288546F-35D6-4D52-BA48-A384361A391F}" dt="2026-05-20T04:46:10.773" v="34890" actId="478"/>
        <pc:sldMkLst>
          <pc:docMk/>
          <pc:sldMk cId="2721545958" sldId="2147483392"/>
        </pc:sldMkLst>
        <pc:spChg chg="mod">
          <ac:chgData name="Masuda, Yusuke 2" userId="89e8346c-0ffa-4e0a-bf4c-6fc819ed007b" providerId="ADAL" clId="{9288546F-35D6-4D52-BA48-A384361A391F}" dt="2026-05-20T02:34:12.950" v="34860" actId="20577"/>
          <ac:spMkLst>
            <pc:docMk/>
            <pc:sldMk cId="2721545958" sldId="2147483392"/>
            <ac:spMk id="4" creationId="{91FC8BB3-C05A-76B8-34D6-C9054F2B3733}"/>
          </ac:spMkLst>
        </pc:spChg>
        <pc:spChg chg="add mod">
          <ac:chgData name="Masuda, Yusuke 2" userId="89e8346c-0ffa-4e0a-bf4c-6fc819ed007b" providerId="ADAL" clId="{9288546F-35D6-4D52-BA48-A384361A391F}" dt="2026-04-24T09:58:46.129" v="15567"/>
          <ac:spMkLst>
            <pc:docMk/>
            <pc:sldMk cId="2721545958" sldId="2147483392"/>
            <ac:spMk id="5" creationId="{B8476908-C23E-97D7-2161-95CCCCC1BFE3}"/>
          </ac:spMkLst>
        </pc:spChg>
        <pc:spChg chg="mod">
          <ac:chgData name="Masuda, Yusuke 2" userId="89e8346c-0ffa-4e0a-bf4c-6fc819ed007b" providerId="ADAL" clId="{9288546F-35D6-4D52-BA48-A384361A391F}" dt="2026-05-19T04:39:07.418" v="33691" actId="120"/>
          <ac:spMkLst>
            <pc:docMk/>
            <pc:sldMk cId="2721545958" sldId="2147483392"/>
            <ac:spMk id="6" creationId="{E8BF9090-D564-7CC9-C4FC-4252EAB673BB}"/>
          </ac:spMkLst>
        </pc:spChg>
        <pc:spChg chg="add del mod">
          <ac:chgData name="Masuda, Yusuke 2" userId="89e8346c-0ffa-4e0a-bf4c-6fc819ed007b" providerId="ADAL" clId="{9288546F-35D6-4D52-BA48-A384361A391F}" dt="2026-05-20T04:46:10.773" v="34890" actId="478"/>
          <ac:spMkLst>
            <pc:docMk/>
            <pc:sldMk cId="2721545958" sldId="2147483392"/>
            <ac:spMk id="7" creationId="{67E47346-AD75-4DBE-7637-0BBE0E9D0DE5}"/>
          </ac:spMkLst>
        </pc:spChg>
        <pc:spChg chg="add del mod">
          <ac:chgData name="Masuda, Yusuke 2" userId="89e8346c-0ffa-4e0a-bf4c-6fc819ed007b" providerId="ADAL" clId="{9288546F-35D6-4D52-BA48-A384361A391F}" dt="2026-05-20T01:38:24.351" v="34677" actId="478"/>
          <ac:spMkLst>
            <pc:docMk/>
            <pc:sldMk cId="2721545958" sldId="2147483392"/>
            <ac:spMk id="7" creationId="{7B16CDA0-AAD1-6316-D3BC-6E46E83A39CD}"/>
          </ac:spMkLst>
        </pc:spChg>
        <pc:spChg chg="mod">
          <ac:chgData name="Masuda, Yusuke 2" userId="89e8346c-0ffa-4e0a-bf4c-6fc819ed007b" providerId="ADAL" clId="{9288546F-35D6-4D52-BA48-A384361A391F}" dt="2026-05-19T04:39:07.418" v="33691" actId="120"/>
          <ac:spMkLst>
            <pc:docMk/>
            <pc:sldMk cId="2721545958" sldId="2147483392"/>
            <ac:spMk id="10" creationId="{19BEFF85-279F-99EA-3256-8C11D31439CC}"/>
          </ac:spMkLst>
        </pc:spChg>
        <pc:spChg chg="mod">
          <ac:chgData name="Masuda, Yusuke 2" userId="89e8346c-0ffa-4e0a-bf4c-6fc819ed007b" providerId="ADAL" clId="{9288546F-35D6-4D52-BA48-A384361A391F}" dt="2026-05-19T04:39:07.418" v="33691" actId="120"/>
          <ac:spMkLst>
            <pc:docMk/>
            <pc:sldMk cId="2721545958" sldId="2147483392"/>
            <ac:spMk id="14" creationId="{7005A841-B894-8425-7DCF-E03D64966C50}"/>
          </ac:spMkLst>
        </pc:spChg>
        <pc:spChg chg="mod">
          <ac:chgData name="Masuda, Yusuke 2" userId="89e8346c-0ffa-4e0a-bf4c-6fc819ed007b" providerId="ADAL" clId="{9288546F-35D6-4D52-BA48-A384361A391F}" dt="2026-05-15T02:36:34.972" v="17909" actId="20577"/>
          <ac:spMkLst>
            <pc:docMk/>
            <pc:sldMk cId="2721545958" sldId="2147483392"/>
            <ac:spMk id="16" creationId="{95DDEFE5-5B1D-60DA-4681-C7122423A0E6}"/>
          </ac:spMkLst>
        </pc:spChg>
        <pc:spChg chg="mod">
          <ac:chgData name="Masuda, Yusuke 2" userId="89e8346c-0ffa-4e0a-bf4c-6fc819ed007b" providerId="ADAL" clId="{9288546F-35D6-4D52-BA48-A384361A391F}" dt="2026-05-15T02:28:21.039" v="17786" actId="20577"/>
          <ac:spMkLst>
            <pc:docMk/>
            <pc:sldMk cId="2721545958" sldId="2147483392"/>
            <ac:spMk id="19" creationId="{FC5E50E5-084A-610A-D7EB-C55F19D62842}"/>
          </ac:spMkLst>
        </pc:spChg>
        <pc:spChg chg="mod">
          <ac:chgData name="Masuda, Yusuke 2" userId="89e8346c-0ffa-4e0a-bf4c-6fc819ed007b" providerId="ADAL" clId="{9288546F-35D6-4D52-BA48-A384361A391F}" dt="2026-05-19T04:39:07.418" v="33691" actId="120"/>
          <ac:spMkLst>
            <pc:docMk/>
            <pc:sldMk cId="2721545958" sldId="2147483392"/>
            <ac:spMk id="25" creationId="{A4217334-E900-8BBF-DFCC-3DA0C6E7CF73}"/>
          </ac:spMkLst>
        </pc:spChg>
        <pc:spChg chg="mod">
          <ac:chgData name="Masuda, Yusuke 2" userId="89e8346c-0ffa-4e0a-bf4c-6fc819ed007b" providerId="ADAL" clId="{9288546F-35D6-4D52-BA48-A384361A391F}" dt="2026-05-19T04:39:07.418" v="33691" actId="120"/>
          <ac:spMkLst>
            <pc:docMk/>
            <pc:sldMk cId="2721545958" sldId="2147483392"/>
            <ac:spMk id="26" creationId="{79AECFF6-A2C1-F025-56ED-F06CDDF3C655}"/>
          </ac:spMkLst>
        </pc:spChg>
        <pc:spChg chg="mod">
          <ac:chgData name="Masuda, Yusuke 2" userId="89e8346c-0ffa-4e0a-bf4c-6fc819ed007b" providerId="ADAL" clId="{9288546F-35D6-4D52-BA48-A384361A391F}" dt="2026-05-19T04:39:07.418" v="33691" actId="120"/>
          <ac:spMkLst>
            <pc:docMk/>
            <pc:sldMk cId="2721545958" sldId="2147483392"/>
            <ac:spMk id="27" creationId="{2EE2BFBF-9F66-BD70-E133-CF2DC3E0C985}"/>
          </ac:spMkLst>
        </pc:spChg>
        <pc:spChg chg="mod">
          <ac:chgData name="Masuda, Yusuke 2" userId="89e8346c-0ffa-4e0a-bf4c-6fc819ed007b" providerId="ADAL" clId="{9288546F-35D6-4D52-BA48-A384361A391F}" dt="2026-05-19T04:39:07.418" v="33691" actId="120"/>
          <ac:spMkLst>
            <pc:docMk/>
            <pc:sldMk cId="2721545958" sldId="2147483392"/>
            <ac:spMk id="28" creationId="{9FB37E8B-6665-F9FC-882C-6C16A39D11D6}"/>
          </ac:spMkLst>
        </pc:spChg>
        <pc:spChg chg="mod">
          <ac:chgData name="Masuda, Yusuke 2" userId="89e8346c-0ffa-4e0a-bf4c-6fc819ed007b" providerId="ADAL" clId="{9288546F-35D6-4D52-BA48-A384361A391F}" dt="2026-05-19T04:39:07.418" v="33691" actId="120"/>
          <ac:spMkLst>
            <pc:docMk/>
            <pc:sldMk cId="2721545958" sldId="2147483392"/>
            <ac:spMk id="29" creationId="{7D5590F7-0AA7-8F91-9EB2-3F8312E5BDE1}"/>
          </ac:spMkLst>
        </pc:spChg>
        <pc:spChg chg="mod">
          <ac:chgData name="Masuda, Yusuke 2" userId="89e8346c-0ffa-4e0a-bf4c-6fc819ed007b" providerId="ADAL" clId="{9288546F-35D6-4D52-BA48-A384361A391F}" dt="2026-05-19T04:39:07.418" v="33691" actId="120"/>
          <ac:spMkLst>
            <pc:docMk/>
            <pc:sldMk cId="2721545958" sldId="2147483392"/>
            <ac:spMk id="30" creationId="{3E5750CE-55FD-63C6-6B4E-9368EEE87875}"/>
          </ac:spMkLst>
        </pc:spChg>
        <pc:spChg chg="mod">
          <ac:chgData name="Masuda, Yusuke 2" userId="89e8346c-0ffa-4e0a-bf4c-6fc819ed007b" providerId="ADAL" clId="{9288546F-35D6-4D52-BA48-A384361A391F}" dt="2026-04-24T09:57:26.554" v="15546" actId="20577"/>
          <ac:spMkLst>
            <pc:docMk/>
            <pc:sldMk cId="2721545958" sldId="2147483392"/>
            <ac:spMk id="46" creationId="{0F67A80B-E935-71CD-841A-3D90FBAA6C87}"/>
          </ac:spMkLst>
        </pc:spChg>
      </pc:sldChg>
      <pc:sldChg chg="add del">
        <pc:chgData name="Masuda, Yusuke 2" userId="89e8346c-0ffa-4e0a-bf4c-6fc819ed007b" providerId="ADAL" clId="{9288546F-35D6-4D52-BA48-A384361A391F}" dt="2026-04-24T10:05:03.282" v="15988" actId="2696"/>
        <pc:sldMkLst>
          <pc:docMk/>
          <pc:sldMk cId="1394491225" sldId="2147483393"/>
        </pc:sldMkLst>
      </pc:sldChg>
      <pc:sldChg chg="addSp delSp modSp add mod ord">
        <pc:chgData name="Masuda, Yusuke 2" userId="89e8346c-0ffa-4e0a-bf4c-6fc819ed007b" providerId="ADAL" clId="{9288546F-35D6-4D52-BA48-A384361A391F}" dt="2026-05-19T04:39:36.710" v="33706" actId="20577"/>
        <pc:sldMkLst>
          <pc:docMk/>
          <pc:sldMk cId="4085811016" sldId="2147483394"/>
        </pc:sldMkLst>
        <pc:spChg chg="add mod">
          <ac:chgData name="Masuda, Yusuke 2" userId="89e8346c-0ffa-4e0a-bf4c-6fc819ed007b" providerId="ADAL" clId="{9288546F-35D6-4D52-BA48-A384361A391F}" dt="2026-04-24T10:00:53.771" v="15644"/>
          <ac:spMkLst>
            <pc:docMk/>
            <pc:sldMk cId="4085811016" sldId="2147483394"/>
            <ac:spMk id="3" creationId="{F11AF7AB-B38F-6C08-33FC-00799A8717A8}"/>
          </ac:spMkLst>
        </pc:spChg>
        <pc:spChg chg="add mod">
          <ac:chgData name="Masuda, Yusuke 2" userId="89e8346c-0ffa-4e0a-bf4c-6fc819ed007b" providerId="ADAL" clId="{9288546F-35D6-4D52-BA48-A384361A391F}" dt="2026-05-15T02:46:33.081" v="18695" actId="207"/>
          <ac:spMkLst>
            <pc:docMk/>
            <pc:sldMk cId="4085811016" sldId="2147483394"/>
            <ac:spMk id="4" creationId="{75FF03CF-7FF4-231D-D03D-6DF6C6477620}"/>
          </ac:spMkLst>
        </pc:spChg>
        <pc:spChg chg="mod topLvl">
          <ac:chgData name="Masuda, Yusuke 2" userId="89e8346c-0ffa-4e0a-bf4c-6fc819ed007b" providerId="ADAL" clId="{9288546F-35D6-4D52-BA48-A384361A391F}" dt="2026-05-19T04:39:35.782" v="33705" actId="20577"/>
          <ac:spMkLst>
            <pc:docMk/>
            <pc:sldMk cId="4085811016" sldId="2147483394"/>
            <ac:spMk id="7" creationId="{9E861EE7-810B-9BB0-FEF9-14587F7947E0}"/>
          </ac:spMkLst>
        </pc:spChg>
        <pc:spChg chg="mod topLvl">
          <ac:chgData name="Masuda, Yusuke 2" userId="89e8346c-0ffa-4e0a-bf4c-6fc819ed007b" providerId="ADAL" clId="{9288546F-35D6-4D52-BA48-A384361A391F}" dt="2026-05-19T04:39:16.570" v="33697" actId="165"/>
          <ac:spMkLst>
            <pc:docMk/>
            <pc:sldMk cId="4085811016" sldId="2147483394"/>
            <ac:spMk id="8" creationId="{FE9554C8-2A7A-4C10-1AFF-E0374032EDC3}"/>
          </ac:spMkLst>
        </pc:spChg>
        <pc:spChg chg="add mod">
          <ac:chgData name="Masuda, Yusuke 2" userId="89e8346c-0ffa-4e0a-bf4c-6fc819ed007b" providerId="ADAL" clId="{9288546F-35D6-4D52-BA48-A384361A391F}" dt="2026-05-15T02:37:00.718" v="17929"/>
          <ac:spMkLst>
            <pc:docMk/>
            <pc:sldMk cId="4085811016" sldId="2147483394"/>
            <ac:spMk id="9" creationId="{8F678402-AF43-9A54-83B9-5BA1AFA957B6}"/>
          </ac:spMkLst>
        </pc:spChg>
        <pc:spChg chg="mod topLvl">
          <ac:chgData name="Masuda, Yusuke 2" userId="89e8346c-0ffa-4e0a-bf4c-6fc819ed007b" providerId="ADAL" clId="{9288546F-35D6-4D52-BA48-A384361A391F}" dt="2026-05-19T04:39:16.570" v="33697" actId="165"/>
          <ac:spMkLst>
            <pc:docMk/>
            <pc:sldMk cId="4085811016" sldId="2147483394"/>
            <ac:spMk id="12" creationId="{42ED21F6-9ABC-9F5D-98E2-48279588A9D9}"/>
          </ac:spMkLst>
        </pc:spChg>
        <pc:spChg chg="mod topLvl">
          <ac:chgData name="Masuda, Yusuke 2" userId="89e8346c-0ffa-4e0a-bf4c-6fc819ed007b" providerId="ADAL" clId="{9288546F-35D6-4D52-BA48-A384361A391F}" dt="2026-05-19T04:39:36.710" v="33706" actId="20577"/>
          <ac:spMkLst>
            <pc:docMk/>
            <pc:sldMk cId="4085811016" sldId="2147483394"/>
            <ac:spMk id="13" creationId="{D90C6FD9-65DD-8528-8FE5-457206F68368}"/>
          </ac:spMkLst>
        </pc:spChg>
        <pc:spChg chg="add mod">
          <ac:chgData name="Masuda, Yusuke 2" userId="89e8346c-0ffa-4e0a-bf4c-6fc819ed007b" providerId="ADAL" clId="{9288546F-35D6-4D52-BA48-A384361A391F}" dt="2026-04-24T10:02:17.026" v="15656"/>
          <ac:spMkLst>
            <pc:docMk/>
            <pc:sldMk cId="4085811016" sldId="2147483394"/>
            <ac:spMk id="16" creationId="{EA4C8B34-ACA0-D671-925A-3804BEC07B5B}"/>
          </ac:spMkLst>
        </pc:spChg>
        <pc:spChg chg="mod topLvl">
          <ac:chgData name="Masuda, Yusuke 2" userId="89e8346c-0ffa-4e0a-bf4c-6fc819ed007b" providerId="ADAL" clId="{9288546F-35D6-4D52-BA48-A384361A391F}" dt="2026-05-19T04:39:31.354" v="33703" actId="3064"/>
          <ac:spMkLst>
            <pc:docMk/>
            <pc:sldMk cId="4085811016" sldId="2147483394"/>
            <ac:spMk id="26" creationId="{A509C44B-2656-0A3F-D4CE-86A453B5F3A7}"/>
          </ac:spMkLst>
        </pc:spChg>
        <pc:spChg chg="mod topLvl">
          <ac:chgData name="Masuda, Yusuke 2" userId="89e8346c-0ffa-4e0a-bf4c-6fc819ed007b" providerId="ADAL" clId="{9288546F-35D6-4D52-BA48-A384361A391F}" dt="2026-05-19T04:39:31.354" v="33703" actId="3064"/>
          <ac:spMkLst>
            <pc:docMk/>
            <pc:sldMk cId="4085811016" sldId="2147483394"/>
            <ac:spMk id="29" creationId="{FF1E9A4B-8388-23C5-CCD5-139C567FA646}"/>
          </ac:spMkLst>
        </pc:spChg>
        <pc:spChg chg="mod topLvl">
          <ac:chgData name="Masuda, Yusuke 2" userId="89e8346c-0ffa-4e0a-bf4c-6fc819ed007b" providerId="ADAL" clId="{9288546F-35D6-4D52-BA48-A384361A391F}" dt="2026-05-19T04:39:16.570" v="33697" actId="165"/>
          <ac:spMkLst>
            <pc:docMk/>
            <pc:sldMk cId="4085811016" sldId="2147483394"/>
            <ac:spMk id="30" creationId="{E1D5A222-E711-5AD7-CD9A-65959AA221A5}"/>
          </ac:spMkLst>
        </pc:spChg>
        <pc:spChg chg="mod">
          <ac:chgData name="Masuda, Yusuke 2" userId="89e8346c-0ffa-4e0a-bf4c-6fc819ed007b" providerId="ADAL" clId="{9288546F-35D6-4D52-BA48-A384361A391F}" dt="2026-05-19T04:39:31.354" v="33703" actId="3064"/>
          <ac:spMkLst>
            <pc:docMk/>
            <pc:sldMk cId="4085811016" sldId="2147483394"/>
            <ac:spMk id="32" creationId="{0B816673-9EA0-58CA-1C64-43DC37A54D65}"/>
          </ac:spMkLst>
        </pc:spChg>
        <pc:spChg chg="mod">
          <ac:chgData name="Masuda, Yusuke 2" userId="89e8346c-0ffa-4e0a-bf4c-6fc819ed007b" providerId="ADAL" clId="{9288546F-35D6-4D52-BA48-A384361A391F}" dt="2026-05-19T04:39:31.354" v="33703" actId="3064"/>
          <ac:spMkLst>
            <pc:docMk/>
            <pc:sldMk cId="4085811016" sldId="2147483394"/>
            <ac:spMk id="35" creationId="{1F8172DF-6FFC-F170-65CF-DEDAFA71AD76}"/>
          </ac:spMkLst>
        </pc:spChg>
        <pc:spChg chg="mod topLvl">
          <ac:chgData name="Masuda, Yusuke 2" userId="89e8346c-0ffa-4e0a-bf4c-6fc819ed007b" providerId="ADAL" clId="{9288546F-35D6-4D52-BA48-A384361A391F}" dt="2026-05-19T04:39:16.570" v="33697" actId="165"/>
          <ac:spMkLst>
            <pc:docMk/>
            <pc:sldMk cId="4085811016" sldId="2147483394"/>
            <ac:spMk id="36" creationId="{7C58B0F7-B061-D375-E220-A6E02CCA4A42}"/>
          </ac:spMkLst>
        </pc:spChg>
        <pc:spChg chg="mod">
          <ac:chgData name="Masuda, Yusuke 2" userId="89e8346c-0ffa-4e0a-bf4c-6fc819ed007b" providerId="ADAL" clId="{9288546F-35D6-4D52-BA48-A384361A391F}" dt="2026-05-19T04:39:31.354" v="33703" actId="3064"/>
          <ac:spMkLst>
            <pc:docMk/>
            <pc:sldMk cId="4085811016" sldId="2147483394"/>
            <ac:spMk id="38" creationId="{2E2F8429-1B4F-646F-4EAB-04CCB801F428}"/>
          </ac:spMkLst>
        </pc:spChg>
        <pc:spChg chg="mod topLvl">
          <ac:chgData name="Masuda, Yusuke 2" userId="89e8346c-0ffa-4e0a-bf4c-6fc819ed007b" providerId="ADAL" clId="{9288546F-35D6-4D52-BA48-A384361A391F}" dt="2026-05-19T04:39:16.570" v="33697" actId="165"/>
          <ac:spMkLst>
            <pc:docMk/>
            <pc:sldMk cId="4085811016" sldId="2147483394"/>
            <ac:spMk id="39" creationId="{54D3CEA3-45E6-44A1-E741-D5895291F400}"/>
          </ac:spMkLst>
        </pc:spChg>
        <pc:spChg chg="mod">
          <ac:chgData name="Masuda, Yusuke 2" userId="89e8346c-0ffa-4e0a-bf4c-6fc819ed007b" providerId="ADAL" clId="{9288546F-35D6-4D52-BA48-A384361A391F}" dt="2026-05-19T04:39:31.354" v="33703" actId="3064"/>
          <ac:spMkLst>
            <pc:docMk/>
            <pc:sldMk cId="4085811016" sldId="2147483394"/>
            <ac:spMk id="41" creationId="{65EA93FB-7C93-ED1C-FFD5-804FB5B9E5A1}"/>
          </ac:spMkLst>
        </pc:spChg>
        <pc:spChg chg="mod topLvl">
          <ac:chgData name="Masuda, Yusuke 2" userId="89e8346c-0ffa-4e0a-bf4c-6fc819ed007b" providerId="ADAL" clId="{9288546F-35D6-4D52-BA48-A384361A391F}" dt="2026-05-19T04:39:16.570" v="33697" actId="165"/>
          <ac:spMkLst>
            <pc:docMk/>
            <pc:sldMk cId="4085811016" sldId="2147483394"/>
            <ac:spMk id="42" creationId="{AAC63F16-D397-B514-E76E-F6BE797B7416}"/>
          </ac:spMkLst>
        </pc:spChg>
      </pc:sldChg>
      <pc:sldChg chg="addSp delSp modSp add mod">
        <pc:chgData name="Masuda, Yusuke 2" userId="89e8346c-0ffa-4e0a-bf4c-6fc819ed007b" providerId="ADAL" clId="{9288546F-35D6-4D52-BA48-A384361A391F}" dt="2026-05-19T04:22:35.753" v="32286"/>
        <pc:sldMkLst>
          <pc:docMk/>
          <pc:sldMk cId="372053690" sldId="2147483395"/>
        </pc:sldMkLst>
        <pc:spChg chg="add mod">
          <ac:chgData name="Masuda, Yusuke 2" userId="89e8346c-0ffa-4e0a-bf4c-6fc819ed007b" providerId="ADAL" clId="{9288546F-35D6-4D52-BA48-A384361A391F}" dt="2026-05-15T02:49:05.697" v="18743" actId="20577"/>
          <ac:spMkLst>
            <pc:docMk/>
            <pc:sldMk cId="372053690" sldId="2147483395"/>
            <ac:spMk id="3" creationId="{4BF0A33A-DF50-C47E-3C4B-AEF8108A17DE}"/>
          </ac:spMkLst>
        </pc:spChg>
        <pc:spChg chg="mod">
          <ac:chgData name="Masuda, Yusuke 2" userId="89e8346c-0ffa-4e0a-bf4c-6fc819ed007b" providerId="ADAL" clId="{9288546F-35D6-4D52-BA48-A384361A391F}" dt="2026-04-27T03:45:31.959" v="16275" actId="1035"/>
          <ac:spMkLst>
            <pc:docMk/>
            <pc:sldMk cId="372053690" sldId="2147483395"/>
            <ac:spMk id="13" creationId="{0E7D1B7B-610B-F135-3D30-09565A82C767}"/>
          </ac:spMkLst>
        </pc:spChg>
        <pc:spChg chg="mod">
          <ac:chgData name="Masuda, Yusuke 2" userId="89e8346c-0ffa-4e0a-bf4c-6fc819ed007b" providerId="ADAL" clId="{9288546F-35D6-4D52-BA48-A384361A391F}" dt="2026-05-19T04:22:35.753" v="32286"/>
          <ac:spMkLst>
            <pc:docMk/>
            <pc:sldMk cId="372053690" sldId="2147483395"/>
            <ac:spMk id="20" creationId="{3BBB13AF-A474-6D32-342F-BCEEF1315150}"/>
          </ac:spMkLst>
        </pc:spChg>
        <pc:spChg chg="mod">
          <ac:chgData name="Masuda, Yusuke 2" userId="89e8346c-0ffa-4e0a-bf4c-6fc819ed007b" providerId="ADAL" clId="{9288546F-35D6-4D52-BA48-A384361A391F}" dt="2026-04-27T03:44:48.249" v="16230" actId="20577"/>
          <ac:spMkLst>
            <pc:docMk/>
            <pc:sldMk cId="372053690" sldId="2147483395"/>
            <ac:spMk id="51" creationId="{AD8141BE-8ED5-3D46-F3C6-2ED1CF0C03F4}"/>
          </ac:spMkLst>
        </pc:spChg>
        <pc:grpChg chg="mod">
          <ac:chgData name="Masuda, Yusuke 2" userId="89e8346c-0ffa-4e0a-bf4c-6fc819ed007b" providerId="ADAL" clId="{9288546F-35D6-4D52-BA48-A384361A391F}" dt="2026-04-27T03:45:31.959" v="16275" actId="1035"/>
          <ac:grpSpMkLst>
            <pc:docMk/>
            <pc:sldMk cId="372053690" sldId="2147483395"/>
            <ac:grpSpMk id="22" creationId="{0A001B29-7198-900B-75B6-B7EDBCC473B9}"/>
          </ac:grpSpMkLst>
        </pc:grpChg>
        <pc:graphicFrameChg chg="mod">
          <ac:chgData name="Masuda, Yusuke 2" userId="89e8346c-0ffa-4e0a-bf4c-6fc819ed007b" providerId="ADAL" clId="{9288546F-35D6-4D52-BA48-A384361A391F}" dt="2026-04-27T03:45:31.959" v="16275" actId="1035"/>
          <ac:graphicFrameMkLst>
            <pc:docMk/>
            <pc:sldMk cId="372053690" sldId="2147483395"/>
            <ac:graphicFrameMk id="16" creationId="{F053A1D3-A7EF-DB45-0A17-91029E122EBF}"/>
          </ac:graphicFrameMkLst>
        </pc:graphicFrameChg>
      </pc:sldChg>
      <pc:sldChg chg="addSp delSp modSp add mod">
        <pc:chgData name="Masuda, Yusuke 2" userId="89e8346c-0ffa-4e0a-bf4c-6fc819ed007b" providerId="ADAL" clId="{9288546F-35D6-4D52-BA48-A384361A391F}" dt="2026-05-20T04:46:07.421" v="34888" actId="478"/>
        <pc:sldMkLst>
          <pc:docMk/>
          <pc:sldMk cId="3194224897" sldId="2147483396"/>
        </pc:sldMkLst>
        <pc:spChg chg="mod">
          <ac:chgData name="Masuda, Yusuke 2" userId="89e8346c-0ffa-4e0a-bf4c-6fc819ed007b" providerId="ADAL" clId="{9288546F-35D6-4D52-BA48-A384361A391F}" dt="2026-05-20T02:33:36.896" v="34787" actId="20577"/>
          <ac:spMkLst>
            <pc:docMk/>
            <pc:sldMk cId="3194224897" sldId="2147483396"/>
            <ac:spMk id="4" creationId="{0E34233B-E3E8-2651-8231-6B173042A640}"/>
          </ac:spMkLst>
        </pc:spChg>
        <pc:spChg chg="add del mod">
          <ac:chgData name="Masuda, Yusuke 2" userId="89e8346c-0ffa-4e0a-bf4c-6fc819ed007b" providerId="ADAL" clId="{9288546F-35D6-4D52-BA48-A384361A391F}" dt="2026-05-20T04:46:07.421" v="34888" actId="478"/>
          <ac:spMkLst>
            <pc:docMk/>
            <pc:sldMk cId="3194224897" sldId="2147483396"/>
            <ac:spMk id="5" creationId="{A988B870-0787-5AED-9229-A2EBB9C4D9B7}"/>
          </ac:spMkLst>
        </pc:spChg>
        <pc:spChg chg="mod">
          <ac:chgData name="Masuda, Yusuke 2" userId="89e8346c-0ffa-4e0a-bf4c-6fc819ed007b" providerId="ADAL" clId="{9288546F-35D6-4D52-BA48-A384361A391F}" dt="2026-05-19T04:38:44.495" v="33681" actId="20577"/>
          <ac:spMkLst>
            <pc:docMk/>
            <pc:sldMk cId="3194224897" sldId="2147483396"/>
            <ac:spMk id="6" creationId="{FB995E14-DA57-2F39-5501-F461EDF11C7E}"/>
          </ac:spMkLst>
        </pc:spChg>
        <pc:spChg chg="mod">
          <ac:chgData name="Masuda, Yusuke 2" userId="89e8346c-0ffa-4e0a-bf4c-6fc819ed007b" providerId="ADAL" clId="{9288546F-35D6-4D52-BA48-A384361A391F}" dt="2026-05-19T04:38:42.650" v="33679" actId="20577"/>
          <ac:spMkLst>
            <pc:docMk/>
            <pc:sldMk cId="3194224897" sldId="2147483396"/>
            <ac:spMk id="10" creationId="{88A0A0CF-6CE2-FCD0-7BBC-F21B7F2C5274}"/>
          </ac:spMkLst>
        </pc:spChg>
        <pc:spChg chg="mod">
          <ac:chgData name="Masuda, Yusuke 2" userId="89e8346c-0ffa-4e0a-bf4c-6fc819ed007b" providerId="ADAL" clId="{9288546F-35D6-4D52-BA48-A384361A391F}" dt="2026-05-19T04:38:48.357" v="33685" actId="20577"/>
          <ac:spMkLst>
            <pc:docMk/>
            <pc:sldMk cId="3194224897" sldId="2147483396"/>
            <ac:spMk id="14" creationId="{5387C5B9-85F7-AE11-0E62-DE390E4565FC}"/>
          </ac:spMkLst>
        </pc:spChg>
        <pc:spChg chg="mod">
          <ac:chgData name="Masuda, Yusuke 2" userId="89e8346c-0ffa-4e0a-bf4c-6fc819ed007b" providerId="ADAL" clId="{9288546F-35D6-4D52-BA48-A384361A391F}" dt="2026-05-19T04:38:51.567" v="33687" actId="20577"/>
          <ac:spMkLst>
            <pc:docMk/>
            <pc:sldMk cId="3194224897" sldId="2147483396"/>
            <ac:spMk id="25" creationId="{CA5819E4-580F-3BAD-5E93-C1AFF459521B}"/>
          </ac:spMkLst>
        </pc:spChg>
        <pc:spChg chg="mod">
          <ac:chgData name="Masuda, Yusuke 2" userId="89e8346c-0ffa-4e0a-bf4c-6fc819ed007b" providerId="ADAL" clId="{9288546F-35D6-4D52-BA48-A384361A391F}" dt="2026-05-19T04:38:49.949" v="33686" actId="20577"/>
          <ac:spMkLst>
            <pc:docMk/>
            <pc:sldMk cId="3194224897" sldId="2147483396"/>
            <ac:spMk id="26" creationId="{9DD028A8-46B9-AE5B-E265-B383908B4413}"/>
          </ac:spMkLst>
        </pc:spChg>
        <pc:spChg chg="mod">
          <ac:chgData name="Masuda, Yusuke 2" userId="89e8346c-0ffa-4e0a-bf4c-6fc819ed007b" providerId="ADAL" clId="{9288546F-35D6-4D52-BA48-A384361A391F}" dt="2026-05-19T04:38:47.344" v="33684" actId="20577"/>
          <ac:spMkLst>
            <pc:docMk/>
            <pc:sldMk cId="3194224897" sldId="2147483396"/>
            <ac:spMk id="27" creationId="{049C657D-EC0C-0E72-5A29-9E3A3AB94B44}"/>
          </ac:spMkLst>
        </pc:spChg>
        <pc:spChg chg="mod">
          <ac:chgData name="Masuda, Yusuke 2" userId="89e8346c-0ffa-4e0a-bf4c-6fc819ed007b" providerId="ADAL" clId="{9288546F-35D6-4D52-BA48-A384361A391F}" dt="2026-05-19T04:38:46.423" v="33683" actId="20577"/>
          <ac:spMkLst>
            <pc:docMk/>
            <pc:sldMk cId="3194224897" sldId="2147483396"/>
            <ac:spMk id="28" creationId="{88DCCB9A-75CF-E923-A076-C41D7529F97F}"/>
          </ac:spMkLst>
        </pc:spChg>
        <pc:spChg chg="mod">
          <ac:chgData name="Masuda, Yusuke 2" userId="89e8346c-0ffa-4e0a-bf4c-6fc819ed007b" providerId="ADAL" clId="{9288546F-35D6-4D52-BA48-A384361A391F}" dt="2026-05-19T04:38:45.461" v="33682" actId="20577"/>
          <ac:spMkLst>
            <pc:docMk/>
            <pc:sldMk cId="3194224897" sldId="2147483396"/>
            <ac:spMk id="29" creationId="{BD58777B-E5CB-8738-26F4-4FA0691E5C5C}"/>
          </ac:spMkLst>
        </pc:spChg>
        <pc:spChg chg="mod">
          <ac:chgData name="Masuda, Yusuke 2" userId="89e8346c-0ffa-4e0a-bf4c-6fc819ed007b" providerId="ADAL" clId="{9288546F-35D6-4D52-BA48-A384361A391F}" dt="2026-05-19T04:38:43.666" v="33680" actId="20577"/>
          <ac:spMkLst>
            <pc:docMk/>
            <pc:sldMk cId="3194224897" sldId="2147483396"/>
            <ac:spMk id="30" creationId="{C48C3D67-E1C8-297D-4330-4F4C9C9E1877}"/>
          </ac:spMkLst>
        </pc:spChg>
      </pc:sldChg>
      <pc:sldChg chg="addSp delSp modSp add del mod">
        <pc:chgData name="Masuda, Yusuke 2" userId="89e8346c-0ffa-4e0a-bf4c-6fc819ed007b" providerId="ADAL" clId="{9288546F-35D6-4D52-BA48-A384361A391F}" dt="2026-05-20T04:45:52.321" v="34886" actId="18676"/>
        <pc:sldMkLst>
          <pc:docMk/>
          <pc:sldMk cId="1743626516" sldId="2147483397"/>
        </pc:sldMkLst>
        <pc:spChg chg="add mod">
          <ac:chgData name="Masuda, Yusuke 2" userId="89e8346c-0ffa-4e0a-bf4c-6fc819ed007b" providerId="ADAL" clId="{9288546F-35D6-4D52-BA48-A384361A391F}" dt="2026-05-19T04:36:48.203" v="33566" actId="20577"/>
          <ac:spMkLst>
            <pc:docMk/>
            <pc:sldMk cId="1743626516" sldId="2147483397"/>
            <ac:spMk id="3" creationId="{C06283A7-66CF-A080-A962-FA38800ACE15}"/>
          </ac:spMkLst>
        </pc:spChg>
        <pc:spChg chg="add del mod">
          <ac:chgData name="Masuda, Yusuke 2" userId="89e8346c-0ffa-4e0a-bf4c-6fc819ed007b" providerId="ADAL" clId="{9288546F-35D6-4D52-BA48-A384361A391F}" dt="2026-05-19T04:31:35.072" v="33115" actId="478"/>
          <ac:spMkLst>
            <pc:docMk/>
            <pc:sldMk cId="1743626516" sldId="2147483397"/>
            <ac:spMk id="5" creationId="{10072357-69FF-7597-A607-7CE636D03E99}"/>
          </ac:spMkLst>
        </pc:spChg>
        <pc:spChg chg="add del mod">
          <ac:chgData name="Masuda, Yusuke 2" userId="89e8346c-0ffa-4e0a-bf4c-6fc819ed007b" providerId="ADAL" clId="{9288546F-35D6-4D52-BA48-A384361A391F}" dt="2026-05-19T04:35:02.055" v="33413" actId="478"/>
          <ac:spMkLst>
            <pc:docMk/>
            <pc:sldMk cId="1743626516" sldId="2147483397"/>
            <ac:spMk id="6" creationId="{B8CF70DC-6DB5-CD10-7764-3E0052DAD7D6}"/>
          </ac:spMkLst>
        </pc:spChg>
        <pc:spChg chg="add del mod">
          <ac:chgData name="Masuda, Yusuke 2" userId="89e8346c-0ffa-4e0a-bf4c-6fc819ed007b" providerId="ADAL" clId="{9288546F-35D6-4D52-BA48-A384361A391F}" dt="2026-05-19T04:35:47.566" v="33468" actId="478"/>
          <ac:spMkLst>
            <pc:docMk/>
            <pc:sldMk cId="1743626516" sldId="2147483397"/>
            <ac:spMk id="8" creationId="{9914D4A8-5F9B-78A9-3B8F-6110A5653F7C}"/>
          </ac:spMkLst>
        </pc:spChg>
        <pc:spChg chg="add del mod">
          <ac:chgData name="Masuda, Yusuke 2" userId="89e8346c-0ffa-4e0a-bf4c-6fc819ed007b" providerId="ADAL" clId="{9288546F-35D6-4D52-BA48-A384361A391F}" dt="2026-05-20T01:38:42.831" v="34679" actId="478"/>
          <ac:spMkLst>
            <pc:docMk/>
            <pc:sldMk cId="1743626516" sldId="2147483397"/>
            <ac:spMk id="9" creationId="{BACEFF8E-CE8E-74E7-0073-DC2F3DBC115D}"/>
          </ac:spMkLst>
        </pc:spChg>
      </pc:sldChg>
      <pc:sldChg chg="addSp modSp add del mod">
        <pc:chgData name="Masuda, Yusuke 2" userId="89e8346c-0ffa-4e0a-bf4c-6fc819ed007b" providerId="ADAL" clId="{9288546F-35D6-4D52-BA48-A384361A391F}" dt="2026-05-20T04:45:52.321" v="34886" actId="18676"/>
        <pc:sldMkLst>
          <pc:docMk/>
          <pc:sldMk cId="2245675913" sldId="2147483398"/>
        </pc:sldMkLst>
        <pc:spChg chg="mod">
          <ac:chgData name="Masuda, Yusuke 2" userId="89e8346c-0ffa-4e0a-bf4c-6fc819ed007b" providerId="ADAL" clId="{9288546F-35D6-4D52-BA48-A384361A391F}" dt="2026-05-19T04:51:37.760" v="34609"/>
          <ac:spMkLst>
            <pc:docMk/>
            <pc:sldMk cId="2245675913" sldId="2147483398"/>
            <ac:spMk id="28" creationId="{CF957AA0-151F-9324-52F9-B8CB011726C4}"/>
          </ac:spMkLst>
        </pc:spChg>
      </pc:sldChg>
      <pc:sldChg chg="addSp delSp modSp add del mod">
        <pc:chgData name="Masuda, Yusuke 2" userId="89e8346c-0ffa-4e0a-bf4c-6fc819ed007b" providerId="ADAL" clId="{9288546F-35D6-4D52-BA48-A384361A391F}" dt="2026-05-20T04:45:52.321" v="34886" actId="18676"/>
        <pc:sldMkLst>
          <pc:docMk/>
          <pc:sldMk cId="2548805770" sldId="2147483399"/>
        </pc:sldMkLst>
      </pc:sldChg>
      <pc:sldChg chg="addSp delSp modSp add del mod">
        <pc:chgData name="Masuda, Yusuke 2" userId="89e8346c-0ffa-4e0a-bf4c-6fc819ed007b" providerId="ADAL" clId="{9288546F-35D6-4D52-BA48-A384361A391F}" dt="2026-05-18T08:47:57.234" v="21256" actId="2696"/>
        <pc:sldMkLst>
          <pc:docMk/>
          <pc:sldMk cId="2597115972" sldId="2147483400"/>
        </pc:sldMkLst>
      </pc:sldChg>
      <pc:sldChg chg="addSp delSp modSp add del mod">
        <pc:chgData name="Masuda, Yusuke 2" userId="89e8346c-0ffa-4e0a-bf4c-6fc819ed007b" providerId="ADAL" clId="{9288546F-35D6-4D52-BA48-A384361A391F}" dt="2026-05-20T04:45:52.321" v="34886" actId="18676"/>
        <pc:sldMkLst>
          <pc:docMk/>
          <pc:sldMk cId="166764924" sldId="2147483401"/>
        </pc:sldMkLst>
      </pc:sldChg>
      <pc:sldChg chg="addSp delSp modSp add del mod">
        <pc:chgData name="Masuda, Yusuke 2" userId="89e8346c-0ffa-4e0a-bf4c-6fc819ed007b" providerId="ADAL" clId="{9288546F-35D6-4D52-BA48-A384361A391F}" dt="2026-05-20T04:45:52.321" v="34886" actId="18676"/>
        <pc:sldMkLst>
          <pc:docMk/>
          <pc:sldMk cId="2046072254" sldId="2147483402"/>
        </pc:sldMkLst>
        <pc:spChg chg="mod">
          <ac:chgData name="Masuda, Yusuke 2" userId="89e8346c-0ffa-4e0a-bf4c-6fc819ed007b" providerId="ADAL" clId="{9288546F-35D6-4D52-BA48-A384361A391F}" dt="2026-05-20T02:34:38.663" v="34864" actId="20577"/>
          <ac:spMkLst>
            <pc:docMk/>
            <pc:sldMk cId="2046072254" sldId="2147483402"/>
            <ac:spMk id="4" creationId="{D9D088CC-91E9-9462-E503-96F07A3697F9}"/>
          </ac:spMkLst>
        </pc:spChg>
        <pc:spChg chg="add mod">
          <ac:chgData name="Masuda, Yusuke 2" userId="89e8346c-0ffa-4e0a-bf4c-6fc819ed007b" providerId="ADAL" clId="{9288546F-35D6-4D52-BA48-A384361A391F}" dt="2026-05-20T02:34:36.565" v="34863"/>
          <ac:spMkLst>
            <pc:docMk/>
            <pc:sldMk cId="2046072254" sldId="2147483402"/>
            <ac:spMk id="5" creationId="{990F5CB9-31FC-3E58-ED3F-E0C437676A59}"/>
          </ac:spMkLst>
        </pc:spChg>
      </pc:sldChg>
      <pc:sldChg chg="addSp delSp modSp add del mod">
        <pc:chgData name="Masuda, Yusuke 2" userId="89e8346c-0ffa-4e0a-bf4c-6fc819ed007b" providerId="ADAL" clId="{9288546F-35D6-4D52-BA48-A384361A391F}" dt="2026-05-20T04:45:52.321" v="34886" actId="18676"/>
        <pc:sldMkLst>
          <pc:docMk/>
          <pc:sldMk cId="1156674732" sldId="2147483403"/>
        </pc:sldMkLst>
        <pc:spChg chg="mod">
          <ac:chgData name="Masuda, Yusuke 2" userId="89e8346c-0ffa-4e0a-bf4c-6fc819ed007b" providerId="ADAL" clId="{9288546F-35D6-4D52-BA48-A384361A391F}" dt="2026-05-20T02:34:42.378" v="34865" actId="20577"/>
          <ac:spMkLst>
            <pc:docMk/>
            <pc:sldMk cId="1156674732" sldId="2147483403"/>
            <ac:spMk id="4" creationId="{80E14950-3680-3B07-C5F5-209CA162E0AE}"/>
          </ac:spMkLst>
        </pc:spChg>
        <pc:spChg chg="add mod">
          <ac:chgData name="Masuda, Yusuke 2" userId="89e8346c-0ffa-4e0a-bf4c-6fc819ed007b" providerId="ADAL" clId="{9288546F-35D6-4D52-BA48-A384361A391F}" dt="2026-05-20T02:34:43.772" v="34866"/>
          <ac:spMkLst>
            <pc:docMk/>
            <pc:sldMk cId="1156674732" sldId="2147483403"/>
            <ac:spMk id="5" creationId="{0B54456B-4278-FA8A-DB4B-EE031BFA97F2}"/>
          </ac:spMkLst>
        </pc:spChg>
      </pc:sldChg>
      <pc:sldChg chg="addSp delSp modSp add del mod">
        <pc:chgData name="Masuda, Yusuke 2" userId="89e8346c-0ffa-4e0a-bf4c-6fc819ed007b" providerId="ADAL" clId="{9288546F-35D6-4D52-BA48-A384361A391F}" dt="2026-05-20T04:45:52.321" v="34886" actId="18676"/>
        <pc:sldMkLst>
          <pc:docMk/>
          <pc:sldMk cId="375388138" sldId="2147483404"/>
        </pc:sldMkLst>
        <pc:spChg chg="mod">
          <ac:chgData name="Masuda, Yusuke 2" userId="89e8346c-0ffa-4e0a-bf4c-6fc819ed007b" providerId="ADAL" clId="{9288546F-35D6-4D52-BA48-A384361A391F}" dt="2026-05-20T02:34:46.408" v="34867" actId="20577"/>
          <ac:spMkLst>
            <pc:docMk/>
            <pc:sldMk cId="375388138" sldId="2147483404"/>
            <ac:spMk id="4" creationId="{B8FB1A33-7DE2-FBCD-30FF-7AC6BD62C923}"/>
          </ac:spMkLst>
        </pc:spChg>
        <pc:spChg chg="add mod">
          <ac:chgData name="Masuda, Yusuke 2" userId="89e8346c-0ffa-4e0a-bf4c-6fc819ed007b" providerId="ADAL" clId="{9288546F-35D6-4D52-BA48-A384361A391F}" dt="2026-05-20T02:34:47.764" v="34868"/>
          <ac:spMkLst>
            <pc:docMk/>
            <pc:sldMk cId="375388138" sldId="2147483404"/>
            <ac:spMk id="5" creationId="{7D534BC0-AC82-2C50-FE4C-51F463A68766}"/>
          </ac:spMkLst>
        </pc:spChg>
      </pc:sldChg>
      <pc:sldChg chg="addSp delSp modSp add del mod">
        <pc:chgData name="Masuda, Yusuke 2" userId="89e8346c-0ffa-4e0a-bf4c-6fc819ed007b" providerId="ADAL" clId="{9288546F-35D6-4D52-BA48-A384361A391F}" dt="2026-05-20T04:45:52.321" v="34886" actId="18676"/>
        <pc:sldMkLst>
          <pc:docMk/>
          <pc:sldMk cId="886891650" sldId="2147483405"/>
        </pc:sldMkLst>
      </pc:sldChg>
      <pc:sldChg chg="addSp modSp add del mod">
        <pc:chgData name="Masuda, Yusuke 2" userId="89e8346c-0ffa-4e0a-bf4c-6fc819ed007b" providerId="ADAL" clId="{9288546F-35D6-4D52-BA48-A384361A391F}" dt="2026-05-20T04:45:52.321" v="34886" actId="18676"/>
        <pc:sldMkLst>
          <pc:docMk/>
          <pc:sldMk cId="2725768816" sldId="2147483406"/>
        </pc:sldMkLst>
      </pc:sldChg>
      <pc:sldChg chg="addSp delSp modSp add del mod">
        <pc:chgData name="Masuda, Yusuke 2" userId="89e8346c-0ffa-4e0a-bf4c-6fc819ed007b" providerId="ADAL" clId="{9288546F-35D6-4D52-BA48-A384361A391F}" dt="2026-05-20T04:45:52.321" v="34886" actId="18676"/>
        <pc:sldMkLst>
          <pc:docMk/>
          <pc:sldMk cId="3013696520" sldId="2147483407"/>
        </pc:sldMkLst>
        <pc:graphicFrameChg chg="mod modGraphic">
          <ac:chgData name="Masuda, Yusuke 2" userId="89e8346c-0ffa-4e0a-bf4c-6fc819ed007b" providerId="ADAL" clId="{9288546F-35D6-4D52-BA48-A384361A391F}" dt="2026-05-19T02:30:52.960" v="26356" actId="20577"/>
          <ac:graphicFrameMkLst>
            <pc:docMk/>
            <pc:sldMk cId="3013696520" sldId="2147483407"/>
            <ac:graphicFrameMk id="5" creationId="{5C5577E4-2291-A592-993C-6670EE731896}"/>
          </ac:graphicFrameMkLst>
        </pc:graphicFrameChg>
        <pc:graphicFrameChg chg="mod modGraphic">
          <ac:chgData name="Masuda, Yusuke 2" userId="89e8346c-0ffa-4e0a-bf4c-6fc819ed007b" providerId="ADAL" clId="{9288546F-35D6-4D52-BA48-A384361A391F}" dt="2026-05-19T02:33:36.838" v="26605" actId="255"/>
          <ac:graphicFrameMkLst>
            <pc:docMk/>
            <pc:sldMk cId="3013696520" sldId="2147483407"/>
            <ac:graphicFrameMk id="13" creationId="{9B16FA0C-447C-52F9-756C-4E7E0C174BB8}"/>
          </ac:graphicFrameMkLst>
        </pc:graphicFrameChg>
      </pc:sldChg>
      <pc:sldChg chg="addSp modSp add del">
        <pc:chgData name="Masuda, Yusuke 2" userId="89e8346c-0ffa-4e0a-bf4c-6fc819ed007b" providerId="ADAL" clId="{9288546F-35D6-4D52-BA48-A384361A391F}" dt="2026-05-18T08:47:51.148" v="21255" actId="2696"/>
        <pc:sldMkLst>
          <pc:docMk/>
          <pc:sldMk cId="2328260958" sldId="2147483408"/>
        </pc:sldMkLst>
      </pc:sldChg>
      <pc:sldChg chg="addSp delSp modSp add del mod">
        <pc:chgData name="Masuda, Yusuke 2" userId="89e8346c-0ffa-4e0a-bf4c-6fc819ed007b" providerId="ADAL" clId="{9288546F-35D6-4D52-BA48-A384361A391F}" dt="2026-05-20T04:45:52.321" v="34886" actId="18676"/>
        <pc:sldMkLst>
          <pc:docMk/>
          <pc:sldMk cId="3207971234" sldId="2147483409"/>
        </pc:sldMkLst>
        <pc:spChg chg="mod">
          <ac:chgData name="Masuda, Yusuke 2" userId="89e8346c-0ffa-4e0a-bf4c-6fc819ed007b" providerId="ADAL" clId="{9288546F-35D6-4D52-BA48-A384361A391F}" dt="2026-05-19T02:18:07.313" v="24929" actId="20577"/>
          <ac:spMkLst>
            <pc:docMk/>
            <pc:sldMk cId="3207971234" sldId="2147483409"/>
            <ac:spMk id="9" creationId="{563D105D-5A5B-70D9-6375-7E659C7BDB38}"/>
          </ac:spMkLst>
        </pc:spChg>
        <pc:spChg chg="mod">
          <ac:chgData name="Masuda, Yusuke 2" userId="89e8346c-0ffa-4e0a-bf4c-6fc819ed007b" providerId="ADAL" clId="{9288546F-35D6-4D52-BA48-A384361A391F}" dt="2026-05-19T04:23:48.107" v="32291" actId="20577"/>
          <ac:spMkLst>
            <pc:docMk/>
            <pc:sldMk cId="3207971234" sldId="2147483409"/>
            <ac:spMk id="15" creationId="{DFB0F90E-F4F2-CA3D-0787-0DF5D575614E}"/>
          </ac:spMkLst>
        </pc:spChg>
        <pc:spChg chg="mod">
          <ac:chgData name="Masuda, Yusuke 2" userId="89e8346c-0ffa-4e0a-bf4c-6fc819ed007b" providerId="ADAL" clId="{9288546F-35D6-4D52-BA48-A384361A391F}" dt="2026-05-19T02:14:31.518" v="24398" actId="1036"/>
          <ac:spMkLst>
            <pc:docMk/>
            <pc:sldMk cId="3207971234" sldId="2147483409"/>
            <ac:spMk id="16" creationId="{142D9FD3-E12C-B301-979A-7661A924EBA6}"/>
          </ac:spMkLst>
        </pc:spChg>
        <pc:spChg chg="mod">
          <ac:chgData name="Masuda, Yusuke 2" userId="89e8346c-0ffa-4e0a-bf4c-6fc819ed007b" providerId="ADAL" clId="{9288546F-35D6-4D52-BA48-A384361A391F}" dt="2026-05-19T04:23:55.940" v="32294" actId="20577"/>
          <ac:spMkLst>
            <pc:docMk/>
            <pc:sldMk cId="3207971234" sldId="2147483409"/>
            <ac:spMk id="18" creationId="{45EFCA37-3B2B-1057-CF9B-1A02C264663F}"/>
          </ac:spMkLst>
        </pc:spChg>
        <pc:spChg chg="mod">
          <ac:chgData name="Masuda, Yusuke 2" userId="89e8346c-0ffa-4e0a-bf4c-6fc819ed007b" providerId="ADAL" clId="{9288546F-35D6-4D52-BA48-A384361A391F}" dt="2026-05-19T02:14:26.781" v="24396" actId="14100"/>
          <ac:spMkLst>
            <pc:docMk/>
            <pc:sldMk cId="3207971234" sldId="2147483409"/>
            <ac:spMk id="19" creationId="{DD312963-168D-C8B4-6DF9-553349D033F1}"/>
          </ac:spMkLst>
        </pc:spChg>
        <pc:spChg chg="mod">
          <ac:chgData name="Masuda, Yusuke 2" userId="89e8346c-0ffa-4e0a-bf4c-6fc819ed007b" providerId="ADAL" clId="{9288546F-35D6-4D52-BA48-A384361A391F}" dt="2026-05-19T04:24:07.165" v="32298" actId="12"/>
          <ac:spMkLst>
            <pc:docMk/>
            <pc:sldMk cId="3207971234" sldId="2147483409"/>
            <ac:spMk id="27" creationId="{948059F7-F176-B677-8540-0A1B47FF8D61}"/>
          </ac:spMkLst>
        </pc:spChg>
        <pc:spChg chg="mod">
          <ac:chgData name="Masuda, Yusuke 2" userId="89e8346c-0ffa-4e0a-bf4c-6fc819ed007b" providerId="ADAL" clId="{9288546F-35D6-4D52-BA48-A384361A391F}" dt="2026-05-20T02:35:31.803" v="34872" actId="20577"/>
          <ac:spMkLst>
            <pc:docMk/>
            <pc:sldMk cId="3207971234" sldId="2147483409"/>
            <ac:spMk id="30" creationId="{919FA60C-5CDC-BF3E-2C01-06754AE29406}"/>
          </ac:spMkLst>
        </pc:spChg>
      </pc:sldChg>
      <pc:sldChg chg="addSp delSp modSp add del mod">
        <pc:chgData name="Masuda, Yusuke 2" userId="89e8346c-0ffa-4e0a-bf4c-6fc819ed007b" providerId="ADAL" clId="{9288546F-35D6-4D52-BA48-A384361A391F}" dt="2026-05-20T04:45:52.321" v="34886" actId="18676"/>
        <pc:sldMkLst>
          <pc:docMk/>
          <pc:sldMk cId="1439744840" sldId="2147483410"/>
        </pc:sldMkLst>
        <pc:spChg chg="mod">
          <ac:chgData name="Masuda, Yusuke 2" userId="89e8346c-0ffa-4e0a-bf4c-6fc819ed007b" providerId="ADAL" clId="{9288546F-35D6-4D52-BA48-A384361A391F}" dt="2026-05-19T02:42:49.614" v="27588" actId="20577"/>
          <ac:spMkLst>
            <pc:docMk/>
            <pc:sldMk cId="1439744840" sldId="2147483410"/>
            <ac:spMk id="8" creationId="{126E8E5C-F4AC-9AD4-0C5D-569C570E55D2}"/>
          </ac:spMkLst>
        </pc:spChg>
      </pc:sldChg>
      <pc:sldChg chg="addSp delSp modSp add del mod">
        <pc:chgData name="Masuda, Yusuke 2" userId="89e8346c-0ffa-4e0a-bf4c-6fc819ed007b" providerId="ADAL" clId="{9288546F-35D6-4D52-BA48-A384361A391F}" dt="2026-05-20T04:45:52.321" v="34886" actId="18676"/>
        <pc:sldMkLst>
          <pc:docMk/>
          <pc:sldMk cId="2010873897" sldId="2147483411"/>
        </pc:sldMkLst>
        <pc:spChg chg="mod">
          <ac:chgData name="Masuda, Yusuke 2" userId="89e8346c-0ffa-4e0a-bf4c-6fc819ed007b" providerId="ADAL" clId="{9288546F-35D6-4D52-BA48-A384361A391F}" dt="2026-05-19T02:34:54.344" v="26718" actId="207"/>
          <ac:spMkLst>
            <pc:docMk/>
            <pc:sldMk cId="2010873897" sldId="2147483411"/>
            <ac:spMk id="10" creationId="{F6EF6CBA-04D6-5603-C702-28718CF37CE3}"/>
          </ac:spMkLst>
        </pc:spChg>
        <pc:spChg chg="mod">
          <ac:chgData name="Masuda, Yusuke 2" userId="89e8346c-0ffa-4e0a-bf4c-6fc819ed007b" providerId="ADAL" clId="{9288546F-35D6-4D52-BA48-A384361A391F}" dt="2026-05-19T02:39:45.166" v="27321" actId="20577"/>
          <ac:spMkLst>
            <pc:docMk/>
            <pc:sldMk cId="2010873897" sldId="2147483411"/>
            <ac:spMk id="34" creationId="{D306C39A-8F12-E02E-F7BC-2D7EE1B9F777}"/>
          </ac:spMkLst>
        </pc:spChg>
        <pc:spChg chg="mod">
          <ac:chgData name="Masuda, Yusuke 2" userId="89e8346c-0ffa-4e0a-bf4c-6fc819ed007b" providerId="ADAL" clId="{9288546F-35D6-4D52-BA48-A384361A391F}" dt="2026-05-19T02:36:02.154" v="26848" actId="113"/>
          <ac:spMkLst>
            <pc:docMk/>
            <pc:sldMk cId="2010873897" sldId="2147483411"/>
            <ac:spMk id="35" creationId="{ED0A9806-1564-86BB-EB80-8EBEAADA4B7E}"/>
          </ac:spMkLst>
        </pc:spChg>
        <pc:spChg chg="mod">
          <ac:chgData name="Masuda, Yusuke 2" userId="89e8346c-0ffa-4e0a-bf4c-6fc819ed007b" providerId="ADAL" clId="{9288546F-35D6-4D52-BA48-A384361A391F}" dt="2026-05-19T02:39:38.930" v="27311" actId="20577"/>
          <ac:spMkLst>
            <pc:docMk/>
            <pc:sldMk cId="2010873897" sldId="2147483411"/>
            <ac:spMk id="36" creationId="{50691CA6-CACB-802A-2F0A-E6E367AA6925}"/>
          </ac:spMkLst>
        </pc:spChg>
        <pc:spChg chg="mod">
          <ac:chgData name="Masuda, Yusuke 2" userId="89e8346c-0ffa-4e0a-bf4c-6fc819ed007b" providerId="ADAL" clId="{9288546F-35D6-4D52-BA48-A384361A391F}" dt="2026-05-19T02:44:37.771" v="27783" actId="20577"/>
          <ac:spMkLst>
            <pc:docMk/>
            <pc:sldMk cId="2010873897" sldId="2147483411"/>
            <ac:spMk id="42" creationId="{3BBFE0E2-ABF4-CAFF-6C6E-39682D23FFB5}"/>
          </ac:spMkLst>
        </pc:spChg>
        <pc:graphicFrameChg chg="modGraphic">
          <ac:chgData name="Masuda, Yusuke 2" userId="89e8346c-0ffa-4e0a-bf4c-6fc819ed007b" providerId="ADAL" clId="{9288546F-35D6-4D52-BA48-A384361A391F}" dt="2026-05-19T02:46:24.223" v="28095" actId="207"/>
          <ac:graphicFrameMkLst>
            <pc:docMk/>
            <pc:sldMk cId="2010873897" sldId="2147483411"/>
            <ac:graphicFrameMk id="12" creationId="{C8B62732-C7D5-415D-106E-23B99F32EFA3}"/>
          </ac:graphicFrameMkLst>
        </pc:graphicFrameChg>
      </pc:sldChg>
      <pc:sldChg chg="addSp delSp modSp add del mod">
        <pc:chgData name="Masuda, Yusuke 2" userId="89e8346c-0ffa-4e0a-bf4c-6fc819ed007b" providerId="ADAL" clId="{9288546F-35D6-4D52-BA48-A384361A391F}" dt="2026-05-20T04:45:52.321" v="34886" actId="18676"/>
        <pc:sldMkLst>
          <pc:docMk/>
          <pc:sldMk cId="4239538361" sldId="2147483412"/>
        </pc:sldMkLst>
        <pc:spChg chg="mod">
          <ac:chgData name="Masuda, Yusuke 2" userId="89e8346c-0ffa-4e0a-bf4c-6fc819ed007b" providerId="ADAL" clId="{9288546F-35D6-4D52-BA48-A384361A391F}" dt="2026-05-19T02:42:12.118" v="27561" actId="20577"/>
          <ac:spMkLst>
            <pc:docMk/>
            <pc:sldMk cId="4239538361" sldId="2147483412"/>
            <ac:spMk id="8" creationId="{F702C0CD-EC3F-80B1-78E3-1F9FB8A6E3CE}"/>
          </ac:spMkLst>
        </pc:spChg>
      </pc:sldChg>
      <pc:sldChg chg="addSp delSp modSp add del mod">
        <pc:chgData name="Masuda, Yusuke 2" userId="89e8346c-0ffa-4e0a-bf4c-6fc819ed007b" providerId="ADAL" clId="{9288546F-35D6-4D52-BA48-A384361A391F}" dt="2026-05-20T04:45:52.321" v="34886" actId="18676"/>
        <pc:sldMkLst>
          <pc:docMk/>
          <pc:sldMk cId="3649447840" sldId="2147483413"/>
        </pc:sldMkLst>
        <pc:spChg chg="del">
          <ac:chgData name="Masuda, Yusuke 2" userId="89e8346c-0ffa-4e0a-bf4c-6fc819ed007b" providerId="ADAL" clId="{9288546F-35D6-4D52-BA48-A384361A391F}" dt="2026-05-19T03:03:38.336" v="28346" actId="478"/>
          <ac:spMkLst>
            <pc:docMk/>
            <pc:sldMk cId="3649447840" sldId="2147483413"/>
            <ac:spMk id="4" creationId="{D1D87696-41E8-CA43-DDA8-3198DF943291}"/>
          </ac:spMkLst>
        </pc:spChg>
        <pc:spChg chg="del">
          <ac:chgData name="Masuda, Yusuke 2" userId="89e8346c-0ffa-4e0a-bf4c-6fc819ed007b" providerId="ADAL" clId="{9288546F-35D6-4D52-BA48-A384361A391F}" dt="2026-05-19T03:03:36.512" v="28344" actId="478"/>
          <ac:spMkLst>
            <pc:docMk/>
            <pc:sldMk cId="3649447840" sldId="2147483413"/>
            <ac:spMk id="12" creationId="{21138EB1-D1AD-20E7-0F6E-A393A44B767B}"/>
          </ac:spMkLst>
        </pc:spChg>
        <pc:spChg chg="mod">
          <ac:chgData name="Masuda, Yusuke 2" userId="89e8346c-0ffa-4e0a-bf4c-6fc819ed007b" providerId="ADAL" clId="{9288546F-35D6-4D52-BA48-A384361A391F}" dt="2026-05-19T02:59:45.070" v="28134" actId="14100"/>
          <ac:spMkLst>
            <pc:docMk/>
            <pc:sldMk cId="3649447840" sldId="2147483413"/>
            <ac:spMk id="17" creationId="{85166581-D119-3743-78D8-850ED21E4E3B}"/>
          </ac:spMkLst>
        </pc:spChg>
        <pc:spChg chg="del">
          <ac:chgData name="Masuda, Yusuke 2" userId="89e8346c-0ffa-4e0a-bf4c-6fc819ed007b" providerId="ADAL" clId="{9288546F-35D6-4D52-BA48-A384361A391F}" dt="2026-05-19T03:03:37.621" v="28345" actId="478"/>
          <ac:spMkLst>
            <pc:docMk/>
            <pc:sldMk cId="3649447840" sldId="2147483413"/>
            <ac:spMk id="20" creationId="{DC458C71-F05D-5D95-40BA-FF868277DC01}"/>
          </ac:spMkLst>
        </pc:spChg>
        <pc:spChg chg="del">
          <ac:chgData name="Masuda, Yusuke 2" userId="89e8346c-0ffa-4e0a-bf4c-6fc819ed007b" providerId="ADAL" clId="{9288546F-35D6-4D52-BA48-A384361A391F}" dt="2026-05-19T03:03:35.527" v="28343" actId="478"/>
          <ac:spMkLst>
            <pc:docMk/>
            <pc:sldMk cId="3649447840" sldId="2147483413"/>
            <ac:spMk id="22" creationId="{0E6D4FF1-2540-7839-BA4B-D61CF710C7B9}"/>
          </ac:spMkLst>
        </pc:spChg>
        <pc:graphicFrameChg chg="mod modGraphic">
          <ac:chgData name="Masuda, Yusuke 2" userId="89e8346c-0ffa-4e0a-bf4c-6fc819ed007b" providerId="ADAL" clId="{9288546F-35D6-4D52-BA48-A384361A391F}" dt="2026-05-19T03:04:23.530" v="28351" actId="13926"/>
          <ac:graphicFrameMkLst>
            <pc:docMk/>
            <pc:sldMk cId="3649447840" sldId="2147483413"/>
            <ac:graphicFrameMk id="13" creationId="{B4DF4432-8795-DBEF-894B-A968C9166F43}"/>
          </ac:graphicFrameMkLst>
        </pc:graphicFrameChg>
        <pc:graphicFrameChg chg="mod modGraphic">
          <ac:chgData name="Masuda, Yusuke 2" userId="89e8346c-0ffa-4e0a-bf4c-6fc819ed007b" providerId="ADAL" clId="{9288546F-35D6-4D52-BA48-A384361A391F}" dt="2026-05-19T03:03:32.686" v="28342" actId="20577"/>
          <ac:graphicFrameMkLst>
            <pc:docMk/>
            <pc:sldMk cId="3649447840" sldId="2147483413"/>
            <ac:graphicFrameMk id="18" creationId="{CB5C1DF0-D523-296F-DE4F-89DBAAE9DB66}"/>
          </ac:graphicFrameMkLst>
        </pc:graphicFrameChg>
      </pc:sldChg>
      <pc:sldChg chg="addSp delSp modSp add del mod">
        <pc:chgData name="Masuda, Yusuke 2" userId="89e8346c-0ffa-4e0a-bf4c-6fc819ed007b" providerId="ADAL" clId="{9288546F-35D6-4D52-BA48-A384361A391F}" dt="2026-05-20T04:45:52.321" v="34886" actId="18676"/>
        <pc:sldMkLst>
          <pc:docMk/>
          <pc:sldMk cId="850160320" sldId="2147483414"/>
        </pc:sldMkLst>
        <pc:spChg chg="add mod">
          <ac:chgData name="Masuda, Yusuke 2" userId="89e8346c-0ffa-4e0a-bf4c-6fc819ed007b" providerId="ADAL" clId="{9288546F-35D6-4D52-BA48-A384361A391F}" dt="2026-05-19T03:08:07.292" v="28662" actId="552"/>
          <ac:spMkLst>
            <pc:docMk/>
            <pc:sldMk cId="850160320" sldId="2147483414"/>
            <ac:spMk id="4" creationId="{58F487E3-D6DF-61C2-C1E4-DC33B27B0AB8}"/>
          </ac:spMkLst>
        </pc:spChg>
        <pc:spChg chg="add mod">
          <ac:chgData name="Masuda, Yusuke 2" userId="89e8346c-0ffa-4e0a-bf4c-6fc819ed007b" providerId="ADAL" clId="{9288546F-35D6-4D52-BA48-A384361A391F}" dt="2026-05-19T03:08:19.495" v="28665" actId="555"/>
          <ac:spMkLst>
            <pc:docMk/>
            <pc:sldMk cId="850160320" sldId="2147483414"/>
            <ac:spMk id="6" creationId="{62523701-E038-9089-E2BE-3BEAFDA5D290}"/>
          </ac:spMkLst>
        </pc:spChg>
        <pc:spChg chg="add mod">
          <ac:chgData name="Masuda, Yusuke 2" userId="89e8346c-0ffa-4e0a-bf4c-6fc819ed007b" providerId="ADAL" clId="{9288546F-35D6-4D52-BA48-A384361A391F}" dt="2026-05-19T03:08:13.889" v="28664" actId="1076"/>
          <ac:spMkLst>
            <pc:docMk/>
            <pc:sldMk cId="850160320" sldId="2147483414"/>
            <ac:spMk id="7" creationId="{0F647969-94A6-9F72-78B4-ADC6E2AF24C2}"/>
          </ac:spMkLst>
        </pc:spChg>
        <pc:spChg chg="add mod">
          <ac:chgData name="Masuda, Yusuke 2" userId="89e8346c-0ffa-4e0a-bf4c-6fc819ed007b" providerId="ADAL" clId="{9288546F-35D6-4D52-BA48-A384361A391F}" dt="2026-05-19T03:10:16.902" v="28835" actId="14100"/>
          <ac:spMkLst>
            <pc:docMk/>
            <pc:sldMk cId="850160320" sldId="2147483414"/>
            <ac:spMk id="8" creationId="{BB702D4E-717F-BAF0-4A5A-E30E46858297}"/>
          </ac:spMkLst>
        </pc:spChg>
        <pc:spChg chg="add mod">
          <ac:chgData name="Masuda, Yusuke 2" userId="89e8346c-0ffa-4e0a-bf4c-6fc819ed007b" providerId="ADAL" clId="{9288546F-35D6-4D52-BA48-A384361A391F}" dt="2026-05-19T03:09:34.382" v="28815" actId="14100"/>
          <ac:spMkLst>
            <pc:docMk/>
            <pc:sldMk cId="850160320" sldId="2147483414"/>
            <ac:spMk id="9" creationId="{0CB609EC-933A-9D1C-92E3-07A2C917200D}"/>
          </ac:spMkLst>
        </pc:spChg>
        <pc:spChg chg="add mod">
          <ac:chgData name="Masuda, Yusuke 2" userId="89e8346c-0ffa-4e0a-bf4c-6fc819ed007b" providerId="ADAL" clId="{9288546F-35D6-4D52-BA48-A384361A391F}" dt="2026-05-19T03:09:19.374" v="28793" actId="20577"/>
          <ac:spMkLst>
            <pc:docMk/>
            <pc:sldMk cId="850160320" sldId="2147483414"/>
            <ac:spMk id="10" creationId="{4EBDEADD-0889-666E-E842-5A4AA48A4EAD}"/>
          </ac:spMkLst>
        </pc:spChg>
        <pc:spChg chg="add mod">
          <ac:chgData name="Masuda, Yusuke 2" userId="89e8346c-0ffa-4e0a-bf4c-6fc819ed007b" providerId="ADAL" clId="{9288546F-35D6-4D52-BA48-A384361A391F}" dt="2026-05-19T03:10:02.350" v="28833" actId="1038"/>
          <ac:spMkLst>
            <pc:docMk/>
            <pc:sldMk cId="850160320" sldId="2147483414"/>
            <ac:spMk id="11" creationId="{C8475247-63F2-B261-F18D-C6086C9F2881}"/>
          </ac:spMkLst>
        </pc:spChg>
        <pc:spChg chg="add mod">
          <ac:chgData name="Masuda, Yusuke 2" userId="89e8346c-0ffa-4e0a-bf4c-6fc819ed007b" providerId="ADAL" clId="{9288546F-35D6-4D52-BA48-A384361A391F}" dt="2026-05-19T03:09:22.692" v="28794" actId="14100"/>
          <ac:spMkLst>
            <pc:docMk/>
            <pc:sldMk cId="850160320" sldId="2147483414"/>
            <ac:spMk id="12" creationId="{768C2DFB-FBD6-1AE5-D11B-51AF0854B51A}"/>
          </ac:spMkLst>
        </pc:spChg>
        <pc:spChg chg="add mod">
          <ac:chgData name="Masuda, Yusuke 2" userId="89e8346c-0ffa-4e0a-bf4c-6fc819ed007b" providerId="ADAL" clId="{9288546F-35D6-4D52-BA48-A384361A391F}" dt="2026-05-19T03:09:54.084" v="28821" actId="14100"/>
          <ac:spMkLst>
            <pc:docMk/>
            <pc:sldMk cId="850160320" sldId="2147483414"/>
            <ac:spMk id="14" creationId="{E201B113-CF17-A447-9D66-75995D9F6F0F}"/>
          </ac:spMkLst>
        </pc:spChg>
        <pc:spChg chg="add mod">
          <ac:chgData name="Masuda, Yusuke 2" userId="89e8346c-0ffa-4e0a-bf4c-6fc819ed007b" providerId="ADAL" clId="{9288546F-35D6-4D52-BA48-A384361A391F}" dt="2026-05-19T03:10:05.489" v="28834" actId="14100"/>
          <ac:spMkLst>
            <pc:docMk/>
            <pc:sldMk cId="850160320" sldId="2147483414"/>
            <ac:spMk id="15" creationId="{F2DADD2B-EBFC-0D9D-5D30-3B8F85C6FFEB}"/>
          </ac:spMkLst>
        </pc:spChg>
        <pc:spChg chg="add mod ord">
          <ac:chgData name="Masuda, Yusuke 2" userId="89e8346c-0ffa-4e0a-bf4c-6fc819ed007b" providerId="ADAL" clId="{9288546F-35D6-4D52-BA48-A384361A391F}" dt="2026-05-19T03:46:09.080" v="28848" actId="167"/>
          <ac:spMkLst>
            <pc:docMk/>
            <pc:sldMk cId="850160320" sldId="2147483414"/>
            <ac:spMk id="17" creationId="{A550DFFC-0A56-F040-19C8-9EE1883C79B0}"/>
          </ac:spMkLst>
        </pc:spChg>
        <pc:spChg chg="mod">
          <ac:chgData name="Masuda, Yusuke 2" userId="89e8346c-0ffa-4e0a-bf4c-6fc819ed007b" providerId="ADAL" clId="{9288546F-35D6-4D52-BA48-A384361A391F}" dt="2026-05-19T04:21:57.844" v="32276" actId="20577"/>
          <ac:spMkLst>
            <pc:docMk/>
            <pc:sldMk cId="850160320" sldId="2147483414"/>
            <ac:spMk id="20" creationId="{84CDF4FA-7191-326D-8ADF-CB07CDA98416}"/>
          </ac:spMkLst>
        </pc:spChg>
        <pc:spChg chg="mod topLvl">
          <ac:chgData name="Masuda, Yusuke 2" userId="89e8346c-0ffa-4e0a-bf4c-6fc819ed007b" providerId="ADAL" clId="{9288546F-35D6-4D52-BA48-A384361A391F}" dt="2026-05-19T03:06:57.804" v="28504" actId="14100"/>
          <ac:spMkLst>
            <pc:docMk/>
            <pc:sldMk cId="850160320" sldId="2147483414"/>
            <ac:spMk id="23" creationId="{497C21FB-D9CB-6678-8131-9DFD0A3627B6}"/>
          </ac:spMkLst>
        </pc:spChg>
        <pc:spChg chg="mod topLvl">
          <ac:chgData name="Masuda, Yusuke 2" userId="89e8346c-0ffa-4e0a-bf4c-6fc819ed007b" providerId="ADAL" clId="{9288546F-35D6-4D52-BA48-A384361A391F}" dt="2026-05-19T03:08:19.495" v="28665" actId="555"/>
          <ac:spMkLst>
            <pc:docMk/>
            <pc:sldMk cId="850160320" sldId="2147483414"/>
            <ac:spMk id="24" creationId="{D987B543-6FA8-749E-FE76-3F61A6908E9E}"/>
          </ac:spMkLst>
        </pc:spChg>
        <pc:spChg chg="mod topLvl">
          <ac:chgData name="Masuda, Yusuke 2" userId="89e8346c-0ffa-4e0a-bf4c-6fc819ed007b" providerId="ADAL" clId="{9288546F-35D6-4D52-BA48-A384361A391F}" dt="2026-05-19T03:07:21.680" v="28556" actId="20577"/>
          <ac:spMkLst>
            <pc:docMk/>
            <pc:sldMk cId="850160320" sldId="2147483414"/>
            <ac:spMk id="25" creationId="{FC90A497-0F00-88C4-A6D0-0DB20999BCEE}"/>
          </ac:spMkLst>
        </pc:spChg>
        <pc:spChg chg="mod topLvl">
          <ac:chgData name="Masuda, Yusuke 2" userId="89e8346c-0ffa-4e0a-bf4c-6fc819ed007b" providerId="ADAL" clId="{9288546F-35D6-4D52-BA48-A384361A391F}" dt="2026-05-19T03:07:33.695" v="28597" actId="20577"/>
          <ac:spMkLst>
            <pc:docMk/>
            <pc:sldMk cId="850160320" sldId="2147483414"/>
            <ac:spMk id="26" creationId="{54E5146F-02B1-815D-F136-69CF784C5DEF}"/>
          </ac:spMkLst>
        </pc:spChg>
        <pc:spChg chg="mod topLvl">
          <ac:chgData name="Masuda, Yusuke 2" userId="89e8346c-0ffa-4e0a-bf4c-6fc819ed007b" providerId="ADAL" clId="{9288546F-35D6-4D52-BA48-A384361A391F}" dt="2026-05-19T03:07:39.290" v="28621" actId="20577"/>
          <ac:spMkLst>
            <pc:docMk/>
            <pc:sldMk cId="850160320" sldId="2147483414"/>
            <ac:spMk id="27" creationId="{CA2D85B4-6EE5-2769-0131-FA60CB57B1D9}"/>
          </ac:spMkLst>
        </pc:spChg>
        <pc:spChg chg="mod topLvl">
          <ac:chgData name="Masuda, Yusuke 2" userId="89e8346c-0ffa-4e0a-bf4c-6fc819ed007b" providerId="ADAL" clId="{9288546F-35D6-4D52-BA48-A384361A391F}" dt="2026-05-19T03:09:43.785" v="28817" actId="554"/>
          <ac:spMkLst>
            <pc:docMk/>
            <pc:sldMk cId="850160320" sldId="2147483414"/>
            <ac:spMk id="39" creationId="{E71366C9-7FF7-B325-3D90-B5C240A5D016}"/>
          </ac:spMkLst>
        </pc:spChg>
        <pc:spChg chg="mod topLvl">
          <ac:chgData name="Masuda, Yusuke 2" userId="89e8346c-0ffa-4e0a-bf4c-6fc819ed007b" providerId="ADAL" clId="{9288546F-35D6-4D52-BA48-A384361A391F}" dt="2026-05-19T03:09:51.540" v="28820" actId="554"/>
          <ac:spMkLst>
            <pc:docMk/>
            <pc:sldMk cId="850160320" sldId="2147483414"/>
            <ac:spMk id="40" creationId="{C6A8E279-8392-B90A-3D18-4E65FFD7F708}"/>
          </ac:spMkLst>
        </pc:spChg>
        <pc:spChg chg="mod topLvl">
          <ac:chgData name="Masuda, Yusuke 2" userId="89e8346c-0ffa-4e0a-bf4c-6fc819ed007b" providerId="ADAL" clId="{9288546F-35D6-4D52-BA48-A384361A391F}" dt="2026-05-19T03:09:57.963" v="28822" actId="555"/>
          <ac:spMkLst>
            <pc:docMk/>
            <pc:sldMk cId="850160320" sldId="2147483414"/>
            <ac:spMk id="41" creationId="{07CDA4ED-AEF1-487D-3C0F-FA7AD64AF4E3}"/>
          </ac:spMkLst>
        </pc:spChg>
        <pc:grpChg chg="del mod">
          <ac:chgData name="Masuda, Yusuke 2" userId="89e8346c-0ffa-4e0a-bf4c-6fc819ed007b" providerId="ADAL" clId="{9288546F-35D6-4D52-BA48-A384361A391F}" dt="2026-05-19T03:06:03.731" v="28395" actId="165"/>
          <ac:grpSpMkLst>
            <pc:docMk/>
            <pc:sldMk cId="850160320" sldId="2147483414"/>
            <ac:grpSpMk id="22" creationId="{7C41AC69-9EE4-F381-61D7-7A9A303CC2C5}"/>
          </ac:grpSpMkLst>
        </pc:grpChg>
        <pc:graphicFrameChg chg="mod modGraphic">
          <ac:chgData name="Masuda, Yusuke 2" userId="89e8346c-0ffa-4e0a-bf4c-6fc819ed007b" providerId="ADAL" clId="{9288546F-35D6-4D52-BA48-A384361A391F}" dt="2026-05-19T03:09:07.927" v="28753" actId="553"/>
          <ac:graphicFrameMkLst>
            <pc:docMk/>
            <pc:sldMk cId="850160320" sldId="2147483414"/>
            <ac:graphicFrameMk id="16" creationId="{527ABDA2-27A4-73A7-BEDC-9A6502D69D55}"/>
          </ac:graphicFrameMkLst>
        </pc:graphicFrameChg>
      </pc:sldChg>
      <pc:sldChg chg="addSp delSp modSp add del mod">
        <pc:chgData name="Masuda, Yusuke 2" userId="89e8346c-0ffa-4e0a-bf4c-6fc819ed007b" providerId="ADAL" clId="{9288546F-35D6-4D52-BA48-A384361A391F}" dt="2026-05-20T04:45:52.321" v="34886" actId="18676"/>
        <pc:sldMkLst>
          <pc:docMk/>
          <pc:sldMk cId="1240328018" sldId="2147483415"/>
        </pc:sldMkLst>
        <pc:spChg chg="mod">
          <ac:chgData name="Masuda, Yusuke 2" userId="89e8346c-0ffa-4e0a-bf4c-6fc819ed007b" providerId="ADAL" clId="{9288546F-35D6-4D52-BA48-A384361A391F}" dt="2026-05-19T03:48:04.037" v="28880" actId="20577"/>
          <ac:spMkLst>
            <pc:docMk/>
            <pc:sldMk cId="1240328018" sldId="2147483415"/>
            <ac:spMk id="8" creationId="{A8C80F51-ADE5-32F0-95B5-5A39BE3264C5}"/>
          </ac:spMkLst>
        </pc:spChg>
        <pc:spChg chg="mod">
          <ac:chgData name="Masuda, Yusuke 2" userId="89e8346c-0ffa-4e0a-bf4c-6fc819ed007b" providerId="ADAL" clId="{9288546F-35D6-4D52-BA48-A384361A391F}" dt="2026-05-19T03:50:17.060" v="29039" actId="120"/>
          <ac:spMkLst>
            <pc:docMk/>
            <pc:sldMk cId="1240328018" sldId="2147483415"/>
            <ac:spMk id="32" creationId="{3B4A3420-C704-70FB-3447-C003DFC09B7B}"/>
          </ac:spMkLst>
        </pc:spChg>
        <pc:spChg chg="mod">
          <ac:chgData name="Masuda, Yusuke 2" userId="89e8346c-0ffa-4e0a-bf4c-6fc819ed007b" providerId="ADAL" clId="{9288546F-35D6-4D52-BA48-A384361A391F}" dt="2026-05-19T03:50:50.498" v="29041"/>
          <ac:spMkLst>
            <pc:docMk/>
            <pc:sldMk cId="1240328018" sldId="2147483415"/>
            <ac:spMk id="34" creationId="{921CA93A-BC88-92B1-40F8-E4C53718B0CA}"/>
          </ac:spMkLst>
        </pc:spChg>
        <pc:spChg chg="mod">
          <ac:chgData name="Masuda, Yusuke 2" userId="89e8346c-0ffa-4e0a-bf4c-6fc819ed007b" providerId="ADAL" clId="{9288546F-35D6-4D52-BA48-A384361A391F}" dt="2026-05-19T03:51:14.670" v="29042"/>
          <ac:spMkLst>
            <pc:docMk/>
            <pc:sldMk cId="1240328018" sldId="2147483415"/>
            <ac:spMk id="35" creationId="{BD9392D4-DE6C-063A-5F4A-CD9086A55310}"/>
          </ac:spMkLst>
        </pc:spChg>
        <pc:spChg chg="mod">
          <ac:chgData name="Masuda, Yusuke 2" userId="89e8346c-0ffa-4e0a-bf4c-6fc819ed007b" providerId="ADAL" clId="{9288546F-35D6-4D52-BA48-A384361A391F}" dt="2026-05-19T03:50:17.060" v="29039" actId="120"/>
          <ac:spMkLst>
            <pc:docMk/>
            <pc:sldMk cId="1240328018" sldId="2147483415"/>
            <ac:spMk id="38" creationId="{9A3918A4-C8A8-8ED6-5594-BAEDA51BA390}"/>
          </ac:spMkLst>
        </pc:spChg>
        <pc:spChg chg="mod">
          <ac:chgData name="Masuda, Yusuke 2" userId="89e8346c-0ffa-4e0a-bf4c-6fc819ed007b" providerId="ADAL" clId="{9288546F-35D6-4D52-BA48-A384361A391F}" dt="2026-05-19T03:50:17.060" v="29039" actId="120"/>
          <ac:spMkLst>
            <pc:docMk/>
            <pc:sldMk cId="1240328018" sldId="2147483415"/>
            <ac:spMk id="39" creationId="{5AA36806-B263-AB07-4BFE-FD936C7B12CA}"/>
          </ac:spMkLst>
        </pc:spChg>
        <pc:spChg chg="mod">
          <ac:chgData name="Masuda, Yusuke 2" userId="89e8346c-0ffa-4e0a-bf4c-6fc819ed007b" providerId="ADAL" clId="{9288546F-35D6-4D52-BA48-A384361A391F}" dt="2026-05-19T03:50:17.060" v="29039" actId="120"/>
          <ac:spMkLst>
            <pc:docMk/>
            <pc:sldMk cId="1240328018" sldId="2147483415"/>
            <ac:spMk id="40" creationId="{C7AC273D-3143-E9AE-9293-D3818543FB1F}"/>
          </ac:spMkLst>
        </pc:spChg>
        <pc:spChg chg="mod">
          <ac:chgData name="Masuda, Yusuke 2" userId="89e8346c-0ffa-4e0a-bf4c-6fc819ed007b" providerId="ADAL" clId="{9288546F-35D6-4D52-BA48-A384361A391F}" dt="2026-05-19T03:50:17.060" v="29039" actId="120"/>
          <ac:spMkLst>
            <pc:docMk/>
            <pc:sldMk cId="1240328018" sldId="2147483415"/>
            <ac:spMk id="42" creationId="{D3522C4E-DFE7-8122-2911-BE390629D5E6}"/>
          </ac:spMkLst>
        </pc:spChg>
        <pc:spChg chg="mod">
          <ac:chgData name="Masuda, Yusuke 2" userId="89e8346c-0ffa-4e0a-bf4c-6fc819ed007b" providerId="ADAL" clId="{9288546F-35D6-4D52-BA48-A384361A391F}" dt="2026-05-19T03:50:17.060" v="29039" actId="120"/>
          <ac:spMkLst>
            <pc:docMk/>
            <pc:sldMk cId="1240328018" sldId="2147483415"/>
            <ac:spMk id="43" creationId="{0D0BE39B-0E36-529F-540A-A4F39F947D44}"/>
          </ac:spMkLst>
        </pc:spChg>
        <pc:spChg chg="mod">
          <ac:chgData name="Masuda, Yusuke 2" userId="89e8346c-0ffa-4e0a-bf4c-6fc819ed007b" providerId="ADAL" clId="{9288546F-35D6-4D52-BA48-A384361A391F}" dt="2026-05-19T03:48:21.658" v="28898" actId="20577"/>
          <ac:spMkLst>
            <pc:docMk/>
            <pc:sldMk cId="1240328018" sldId="2147483415"/>
            <ac:spMk id="44" creationId="{AA51F56A-EB53-6FD5-B9BB-C83C1AE8B2A7}"/>
          </ac:spMkLst>
        </pc:spChg>
        <pc:spChg chg="mod">
          <ac:chgData name="Masuda, Yusuke 2" userId="89e8346c-0ffa-4e0a-bf4c-6fc819ed007b" providerId="ADAL" clId="{9288546F-35D6-4D52-BA48-A384361A391F}" dt="2026-05-19T03:50:17.060" v="29039" actId="120"/>
          <ac:spMkLst>
            <pc:docMk/>
            <pc:sldMk cId="1240328018" sldId="2147483415"/>
            <ac:spMk id="46" creationId="{3BE4FE12-A815-11E7-7585-202C77FF6F7D}"/>
          </ac:spMkLst>
        </pc:spChg>
        <pc:spChg chg="mod">
          <ac:chgData name="Masuda, Yusuke 2" userId="89e8346c-0ffa-4e0a-bf4c-6fc819ed007b" providerId="ADAL" clId="{9288546F-35D6-4D52-BA48-A384361A391F}" dt="2026-05-19T03:50:17.060" v="29039" actId="120"/>
          <ac:spMkLst>
            <pc:docMk/>
            <pc:sldMk cId="1240328018" sldId="2147483415"/>
            <ac:spMk id="47" creationId="{913F07AA-F177-C27F-9F9F-669A03773714}"/>
          </ac:spMkLst>
        </pc:spChg>
        <pc:spChg chg="mod">
          <ac:chgData name="Masuda, Yusuke 2" userId="89e8346c-0ffa-4e0a-bf4c-6fc819ed007b" providerId="ADAL" clId="{9288546F-35D6-4D52-BA48-A384361A391F}" dt="2026-05-19T03:50:17.060" v="29039" actId="120"/>
          <ac:spMkLst>
            <pc:docMk/>
            <pc:sldMk cId="1240328018" sldId="2147483415"/>
            <ac:spMk id="48" creationId="{4D1CA4B3-4D19-107E-17C5-F33F17C6991A}"/>
          </ac:spMkLst>
        </pc:spChg>
        <pc:spChg chg="mod">
          <ac:chgData name="Masuda, Yusuke 2" userId="89e8346c-0ffa-4e0a-bf4c-6fc819ed007b" providerId="ADAL" clId="{9288546F-35D6-4D52-BA48-A384361A391F}" dt="2026-05-19T03:52:41.892" v="29331" actId="207"/>
          <ac:spMkLst>
            <pc:docMk/>
            <pc:sldMk cId="1240328018" sldId="2147483415"/>
            <ac:spMk id="55" creationId="{6C73D680-D89F-30D4-9557-E584BD9A9128}"/>
          </ac:spMkLst>
        </pc:spChg>
        <pc:spChg chg="mod">
          <ac:chgData name="Masuda, Yusuke 2" userId="89e8346c-0ffa-4e0a-bf4c-6fc819ed007b" providerId="ADAL" clId="{9288546F-35D6-4D52-BA48-A384361A391F}" dt="2026-05-19T04:22:59.401" v="32288" actId="20577"/>
          <ac:spMkLst>
            <pc:docMk/>
            <pc:sldMk cId="1240328018" sldId="2147483415"/>
            <ac:spMk id="56" creationId="{6C170D9E-4B89-33BD-3567-E6488D4F6BC9}"/>
          </ac:spMkLst>
        </pc:spChg>
      </pc:sldChg>
      <pc:sldChg chg="addSp delSp modSp add del mod">
        <pc:chgData name="Masuda, Yusuke 2" userId="89e8346c-0ffa-4e0a-bf4c-6fc819ed007b" providerId="ADAL" clId="{9288546F-35D6-4D52-BA48-A384361A391F}" dt="2026-05-20T04:45:52.321" v="34886" actId="18676"/>
        <pc:sldMkLst>
          <pc:docMk/>
          <pc:sldMk cId="2906013560" sldId="2147483416"/>
        </pc:sldMkLst>
        <pc:spChg chg="mod">
          <ac:chgData name="Masuda, Yusuke 2" userId="89e8346c-0ffa-4e0a-bf4c-6fc819ed007b" providerId="ADAL" clId="{9288546F-35D6-4D52-BA48-A384361A391F}" dt="2026-05-20T02:35:58.254" v="34885" actId="20577"/>
          <ac:spMkLst>
            <pc:docMk/>
            <pc:sldMk cId="2906013560" sldId="2147483416"/>
            <ac:spMk id="4" creationId="{88B98F89-9146-BD82-4780-D1AE057C3C33}"/>
          </ac:spMkLst>
        </pc:spChg>
        <pc:spChg chg="add mod">
          <ac:chgData name="Masuda, Yusuke 2" userId="89e8346c-0ffa-4e0a-bf4c-6fc819ed007b" providerId="ADAL" clId="{9288546F-35D6-4D52-BA48-A384361A391F}" dt="2026-05-19T04:01:57.335" v="30098" actId="207"/>
          <ac:spMkLst>
            <pc:docMk/>
            <pc:sldMk cId="2906013560" sldId="2147483416"/>
            <ac:spMk id="6" creationId="{EF07598B-B05F-9D90-E4EC-EFC0BB659011}"/>
          </ac:spMkLst>
        </pc:spChg>
        <pc:spChg chg="mod">
          <ac:chgData name="Masuda, Yusuke 2" userId="89e8346c-0ffa-4e0a-bf4c-6fc819ed007b" providerId="ADAL" clId="{9288546F-35D6-4D52-BA48-A384361A391F}" dt="2026-05-19T04:46:37.851" v="34179" actId="552"/>
          <ac:spMkLst>
            <pc:docMk/>
            <pc:sldMk cId="2906013560" sldId="2147483416"/>
            <ac:spMk id="7" creationId="{1CCD3214-3C00-C078-E86E-2DB517E893CF}"/>
          </ac:spMkLst>
        </pc:spChg>
        <pc:spChg chg="del mod">
          <ac:chgData name="Masuda, Yusuke 2" userId="89e8346c-0ffa-4e0a-bf4c-6fc819ed007b" providerId="ADAL" clId="{9288546F-35D6-4D52-BA48-A384361A391F}" dt="2026-05-19T04:46:30.107" v="34178" actId="478"/>
          <ac:spMkLst>
            <pc:docMk/>
            <pc:sldMk cId="2906013560" sldId="2147483416"/>
            <ac:spMk id="8" creationId="{320DB8EE-17AC-6C89-381B-1FAE1EC08CB3}"/>
          </ac:spMkLst>
        </pc:spChg>
        <pc:spChg chg="del mod">
          <ac:chgData name="Masuda, Yusuke 2" userId="89e8346c-0ffa-4e0a-bf4c-6fc819ed007b" providerId="ADAL" clId="{9288546F-35D6-4D52-BA48-A384361A391F}" dt="2026-05-19T04:46:30.107" v="34178" actId="478"/>
          <ac:spMkLst>
            <pc:docMk/>
            <pc:sldMk cId="2906013560" sldId="2147483416"/>
            <ac:spMk id="11" creationId="{F9C819FE-894F-EE8F-2276-B6228FA63831}"/>
          </ac:spMkLst>
        </pc:spChg>
        <pc:spChg chg="add mod">
          <ac:chgData name="Masuda, Yusuke 2" userId="89e8346c-0ffa-4e0a-bf4c-6fc819ed007b" providerId="ADAL" clId="{9288546F-35D6-4D52-BA48-A384361A391F}" dt="2026-05-19T03:59:33.071" v="29887" actId="1038"/>
          <ac:spMkLst>
            <pc:docMk/>
            <pc:sldMk cId="2906013560" sldId="2147483416"/>
            <ac:spMk id="12" creationId="{D02FF778-7657-ED35-C697-F3DA4288CE52}"/>
          </ac:spMkLst>
        </pc:spChg>
        <pc:spChg chg="mod">
          <ac:chgData name="Masuda, Yusuke 2" userId="89e8346c-0ffa-4e0a-bf4c-6fc819ed007b" providerId="ADAL" clId="{9288546F-35D6-4D52-BA48-A384361A391F}" dt="2026-05-19T04:46:43.618" v="34181" actId="14100"/>
          <ac:spMkLst>
            <pc:docMk/>
            <pc:sldMk cId="2906013560" sldId="2147483416"/>
            <ac:spMk id="14" creationId="{E1F2D113-33E3-045B-465A-50572C39590A}"/>
          </ac:spMkLst>
        </pc:spChg>
        <pc:spChg chg="add mod">
          <ac:chgData name="Masuda, Yusuke 2" userId="89e8346c-0ffa-4e0a-bf4c-6fc819ed007b" providerId="ADAL" clId="{9288546F-35D6-4D52-BA48-A384361A391F}" dt="2026-05-19T04:01:57.335" v="30098" actId="207"/>
          <ac:spMkLst>
            <pc:docMk/>
            <pc:sldMk cId="2906013560" sldId="2147483416"/>
            <ac:spMk id="15" creationId="{83C413C6-F95E-B877-B4B3-1D40D40E77B9}"/>
          </ac:spMkLst>
        </pc:spChg>
        <pc:spChg chg="add mod">
          <ac:chgData name="Masuda, Yusuke 2" userId="89e8346c-0ffa-4e0a-bf4c-6fc819ed007b" providerId="ADAL" clId="{9288546F-35D6-4D52-BA48-A384361A391F}" dt="2026-05-19T04:01:57.335" v="30098" actId="207"/>
          <ac:spMkLst>
            <pc:docMk/>
            <pc:sldMk cId="2906013560" sldId="2147483416"/>
            <ac:spMk id="23" creationId="{7C98AA0B-1FEA-85E2-EF43-5A915A765491}"/>
          </ac:spMkLst>
        </pc:spChg>
        <pc:spChg chg="add mod">
          <ac:chgData name="Masuda, Yusuke 2" userId="89e8346c-0ffa-4e0a-bf4c-6fc819ed007b" providerId="ADAL" clId="{9288546F-35D6-4D52-BA48-A384361A391F}" dt="2026-05-19T04:00:13.843" v="29990" actId="1036"/>
          <ac:spMkLst>
            <pc:docMk/>
            <pc:sldMk cId="2906013560" sldId="2147483416"/>
            <ac:spMk id="27" creationId="{246A9774-0931-9F3E-8736-AA9E664E6442}"/>
          </ac:spMkLst>
        </pc:spChg>
        <pc:spChg chg="add mod">
          <ac:chgData name="Masuda, Yusuke 2" userId="89e8346c-0ffa-4e0a-bf4c-6fc819ed007b" providerId="ADAL" clId="{9288546F-35D6-4D52-BA48-A384361A391F}" dt="2026-05-19T04:01:47.342" v="30097" actId="1036"/>
          <ac:spMkLst>
            <pc:docMk/>
            <pc:sldMk cId="2906013560" sldId="2147483416"/>
            <ac:spMk id="28" creationId="{369A1513-6335-51DB-BB90-FABEDFDFC22F}"/>
          </ac:spMkLst>
        </pc:spChg>
        <pc:spChg chg="add mod">
          <ac:chgData name="Masuda, Yusuke 2" userId="89e8346c-0ffa-4e0a-bf4c-6fc819ed007b" providerId="ADAL" clId="{9288546F-35D6-4D52-BA48-A384361A391F}" dt="2026-05-19T04:01:57.335" v="30098" actId="207"/>
          <ac:spMkLst>
            <pc:docMk/>
            <pc:sldMk cId="2906013560" sldId="2147483416"/>
            <ac:spMk id="29" creationId="{1B6AC51F-F030-1448-B990-965D2D708E37}"/>
          </ac:spMkLst>
        </pc:spChg>
        <pc:spChg chg="add mod">
          <ac:chgData name="Masuda, Yusuke 2" userId="89e8346c-0ffa-4e0a-bf4c-6fc819ed007b" providerId="ADAL" clId="{9288546F-35D6-4D52-BA48-A384361A391F}" dt="2026-05-19T03:59:58.804" v="29966" actId="1036"/>
          <ac:spMkLst>
            <pc:docMk/>
            <pc:sldMk cId="2906013560" sldId="2147483416"/>
            <ac:spMk id="30" creationId="{7AD97E32-222E-66E0-0A53-D293686DA666}"/>
          </ac:spMkLst>
        </pc:spChg>
        <pc:spChg chg="add mod">
          <ac:chgData name="Masuda, Yusuke 2" userId="89e8346c-0ffa-4e0a-bf4c-6fc819ed007b" providerId="ADAL" clId="{9288546F-35D6-4D52-BA48-A384361A391F}" dt="2026-05-19T04:01:57.335" v="30098" actId="207"/>
          <ac:spMkLst>
            <pc:docMk/>
            <pc:sldMk cId="2906013560" sldId="2147483416"/>
            <ac:spMk id="31" creationId="{DB8FF182-795E-628B-C18B-91449BD9736F}"/>
          </ac:spMkLst>
        </pc:spChg>
        <pc:spChg chg="add mod">
          <ac:chgData name="Masuda, Yusuke 2" userId="89e8346c-0ffa-4e0a-bf4c-6fc819ed007b" providerId="ADAL" clId="{9288546F-35D6-4D52-BA48-A384361A391F}" dt="2026-05-19T04:01:57.335" v="30098" actId="207"/>
          <ac:spMkLst>
            <pc:docMk/>
            <pc:sldMk cId="2906013560" sldId="2147483416"/>
            <ac:spMk id="32" creationId="{3A5509F9-6A44-0BA6-7D47-6BF5C5B4879A}"/>
          </ac:spMkLst>
        </pc:spChg>
        <pc:spChg chg="add mod">
          <ac:chgData name="Masuda, Yusuke 2" userId="89e8346c-0ffa-4e0a-bf4c-6fc819ed007b" providerId="ADAL" clId="{9288546F-35D6-4D52-BA48-A384361A391F}" dt="2026-05-19T04:01:57.335" v="30098" actId="207"/>
          <ac:spMkLst>
            <pc:docMk/>
            <pc:sldMk cId="2906013560" sldId="2147483416"/>
            <ac:spMk id="33" creationId="{7BF726F5-436E-E2B3-F6E5-7160757DCF09}"/>
          </ac:spMkLst>
        </pc:spChg>
        <pc:spChg chg="add mod">
          <ac:chgData name="Masuda, Yusuke 2" userId="89e8346c-0ffa-4e0a-bf4c-6fc819ed007b" providerId="ADAL" clId="{9288546F-35D6-4D52-BA48-A384361A391F}" dt="2026-05-19T04:01:57.335" v="30098" actId="207"/>
          <ac:spMkLst>
            <pc:docMk/>
            <pc:sldMk cId="2906013560" sldId="2147483416"/>
            <ac:spMk id="36" creationId="{6F1322ED-9C3B-6797-1093-19702AD501E9}"/>
          </ac:spMkLst>
        </pc:spChg>
        <pc:spChg chg="add mod">
          <ac:chgData name="Masuda, Yusuke 2" userId="89e8346c-0ffa-4e0a-bf4c-6fc819ed007b" providerId="ADAL" clId="{9288546F-35D6-4D52-BA48-A384361A391F}" dt="2026-05-19T04:01:57.335" v="30098" actId="207"/>
          <ac:spMkLst>
            <pc:docMk/>
            <pc:sldMk cId="2906013560" sldId="2147483416"/>
            <ac:spMk id="39" creationId="{5253F241-3D01-8344-2B48-35401D2A2022}"/>
          </ac:spMkLst>
        </pc:spChg>
        <pc:spChg chg="add del mod">
          <ac:chgData name="Masuda, Yusuke 2" userId="89e8346c-0ffa-4e0a-bf4c-6fc819ed007b" providerId="ADAL" clId="{9288546F-35D6-4D52-BA48-A384361A391F}" dt="2026-05-19T04:30:17.340" v="33112" actId="478"/>
          <ac:spMkLst>
            <pc:docMk/>
            <pc:sldMk cId="2906013560" sldId="2147483416"/>
            <ac:spMk id="40" creationId="{CAFE4966-8BBA-62D2-DE89-CED525A6DBA0}"/>
          </ac:spMkLst>
        </pc:spChg>
        <pc:spChg chg="add del mod">
          <ac:chgData name="Masuda, Yusuke 2" userId="89e8346c-0ffa-4e0a-bf4c-6fc819ed007b" providerId="ADAL" clId="{9288546F-35D6-4D52-BA48-A384361A391F}" dt="2026-05-19T04:30:17.340" v="33112" actId="478"/>
          <ac:spMkLst>
            <pc:docMk/>
            <pc:sldMk cId="2906013560" sldId="2147483416"/>
            <ac:spMk id="41" creationId="{8E204C0E-890D-D625-BD1F-1FB908BA84F5}"/>
          </ac:spMkLst>
        </pc:spChg>
        <pc:spChg chg="add mod">
          <ac:chgData name="Masuda, Yusuke 2" userId="89e8346c-0ffa-4e0a-bf4c-6fc819ed007b" providerId="ADAL" clId="{9288546F-35D6-4D52-BA48-A384361A391F}" dt="2026-05-19T04:46:37.851" v="34179" actId="552"/>
          <ac:spMkLst>
            <pc:docMk/>
            <pc:sldMk cId="2906013560" sldId="2147483416"/>
            <ac:spMk id="42" creationId="{08C07BC5-BCB3-F5C6-B75F-585FA3296219}"/>
          </ac:spMkLst>
        </pc:spChg>
        <pc:spChg chg="add mod">
          <ac:chgData name="Masuda, Yusuke 2" userId="89e8346c-0ffa-4e0a-bf4c-6fc819ed007b" providerId="ADAL" clId="{9288546F-35D6-4D52-BA48-A384361A391F}" dt="2026-05-19T04:46:37.851" v="34179" actId="552"/>
          <ac:spMkLst>
            <pc:docMk/>
            <pc:sldMk cId="2906013560" sldId="2147483416"/>
            <ac:spMk id="43" creationId="{DF3B717E-AE67-0328-EDE8-606CE499637E}"/>
          </ac:spMkLst>
        </pc:spChg>
        <pc:spChg chg="add mod">
          <ac:chgData name="Masuda, Yusuke 2" userId="89e8346c-0ffa-4e0a-bf4c-6fc819ed007b" providerId="ADAL" clId="{9288546F-35D6-4D52-BA48-A384361A391F}" dt="2026-05-19T04:46:37.851" v="34179" actId="552"/>
          <ac:spMkLst>
            <pc:docMk/>
            <pc:sldMk cId="2906013560" sldId="2147483416"/>
            <ac:spMk id="44" creationId="{EC9654FC-474C-322D-A165-57A45C95F122}"/>
          </ac:spMkLst>
        </pc:spChg>
        <pc:spChg chg="add mod">
          <ac:chgData name="Masuda, Yusuke 2" userId="89e8346c-0ffa-4e0a-bf4c-6fc819ed007b" providerId="ADAL" clId="{9288546F-35D6-4D52-BA48-A384361A391F}" dt="2026-05-19T04:46:37.851" v="34179" actId="552"/>
          <ac:spMkLst>
            <pc:docMk/>
            <pc:sldMk cId="2906013560" sldId="2147483416"/>
            <ac:spMk id="45" creationId="{92017E0E-A7A5-5B75-AE86-B8AE002A0EFF}"/>
          </ac:spMkLst>
        </pc:spChg>
        <pc:cxnChg chg="add mod">
          <ac:chgData name="Masuda, Yusuke 2" userId="89e8346c-0ffa-4e0a-bf4c-6fc819ed007b" providerId="ADAL" clId="{9288546F-35D6-4D52-BA48-A384361A391F}" dt="2026-05-19T04:00:09.401" v="29982" actId="1035"/>
          <ac:cxnSpMkLst>
            <pc:docMk/>
            <pc:sldMk cId="2906013560" sldId="2147483416"/>
            <ac:cxnSpMk id="17" creationId="{F55B200A-1E22-3417-A91F-EE881A2593EB}"/>
          </ac:cxnSpMkLst>
        </pc:cxnChg>
        <pc:cxnChg chg="add mod">
          <ac:chgData name="Masuda, Yusuke 2" userId="89e8346c-0ffa-4e0a-bf4c-6fc819ed007b" providerId="ADAL" clId="{9288546F-35D6-4D52-BA48-A384361A391F}" dt="2026-05-19T04:00:13.843" v="29990" actId="1036"/>
          <ac:cxnSpMkLst>
            <pc:docMk/>
            <pc:sldMk cId="2906013560" sldId="2147483416"/>
            <ac:cxnSpMk id="18" creationId="{23BC5E3E-C6E7-31D4-424D-1FAF0C166253}"/>
          </ac:cxnSpMkLst>
        </pc:cxnChg>
        <pc:cxnChg chg="add mod">
          <ac:chgData name="Masuda, Yusuke 2" userId="89e8346c-0ffa-4e0a-bf4c-6fc819ed007b" providerId="ADAL" clId="{9288546F-35D6-4D52-BA48-A384361A391F}" dt="2026-05-19T04:00:09.401" v="29982" actId="1035"/>
          <ac:cxnSpMkLst>
            <pc:docMk/>
            <pc:sldMk cId="2906013560" sldId="2147483416"/>
            <ac:cxnSpMk id="21" creationId="{28DB25E3-C90E-4C37-F725-B9E41B0EC098}"/>
          </ac:cxnSpMkLst>
        </pc:cxnChg>
        <pc:cxnChg chg="add mod">
          <ac:chgData name="Masuda, Yusuke 2" userId="89e8346c-0ffa-4e0a-bf4c-6fc819ed007b" providerId="ADAL" clId="{9288546F-35D6-4D52-BA48-A384361A391F}" dt="2026-05-19T04:00:13.843" v="29990" actId="1036"/>
          <ac:cxnSpMkLst>
            <pc:docMk/>
            <pc:sldMk cId="2906013560" sldId="2147483416"/>
            <ac:cxnSpMk id="22" creationId="{D2EE79FF-6059-31D8-6F90-4AEB47389306}"/>
          </ac:cxnSpMkLst>
        </pc:cxnChg>
        <pc:cxnChg chg="add mod">
          <ac:chgData name="Masuda, Yusuke 2" userId="89e8346c-0ffa-4e0a-bf4c-6fc819ed007b" providerId="ADAL" clId="{9288546F-35D6-4D52-BA48-A384361A391F}" dt="2026-05-19T03:59:54.561" v="29960" actId="196"/>
          <ac:cxnSpMkLst>
            <pc:docMk/>
            <pc:sldMk cId="2906013560" sldId="2147483416"/>
            <ac:cxnSpMk id="24" creationId="{AD1A52B3-1369-4F71-2521-228147D7790A}"/>
          </ac:cxnSpMkLst>
        </pc:cxnChg>
        <pc:cxnChg chg="add mod">
          <ac:chgData name="Masuda, Yusuke 2" userId="89e8346c-0ffa-4e0a-bf4c-6fc819ed007b" providerId="ADAL" clId="{9288546F-35D6-4D52-BA48-A384361A391F}" dt="2026-05-19T03:59:54.561" v="29960" actId="196"/>
          <ac:cxnSpMkLst>
            <pc:docMk/>
            <pc:sldMk cId="2906013560" sldId="2147483416"/>
            <ac:cxnSpMk id="26" creationId="{776B438F-782C-FCE0-5FAC-2D24B2EFFF91}"/>
          </ac:cxnSpMkLst>
        </pc:cxnChg>
        <pc:cxnChg chg="add mod">
          <ac:chgData name="Masuda, Yusuke 2" userId="89e8346c-0ffa-4e0a-bf4c-6fc819ed007b" providerId="ADAL" clId="{9288546F-35D6-4D52-BA48-A384361A391F}" dt="2026-05-19T04:00:18.590" v="29991" actId="554"/>
          <ac:cxnSpMkLst>
            <pc:docMk/>
            <pc:sldMk cId="2906013560" sldId="2147483416"/>
            <ac:cxnSpMk id="35" creationId="{C8FB3D37-F7F0-1997-DE9A-8F0AB782E889}"/>
          </ac:cxnSpMkLst>
        </pc:cxnChg>
        <pc:cxnChg chg="add">
          <ac:chgData name="Masuda, Yusuke 2" userId="89e8346c-0ffa-4e0a-bf4c-6fc819ed007b" providerId="ADAL" clId="{9288546F-35D6-4D52-BA48-A384361A391F}" dt="2026-05-19T04:00:33.167" v="29992" actId="11529"/>
          <ac:cxnSpMkLst>
            <pc:docMk/>
            <pc:sldMk cId="2906013560" sldId="2147483416"/>
            <ac:cxnSpMk id="38" creationId="{B47E342D-659A-CEC6-3CAC-6DB241E98074}"/>
          </ac:cxnSpMkLst>
        </pc:cxnChg>
      </pc:sldChg>
      <pc:sldChg chg="addSp delSp modSp add del mod">
        <pc:chgData name="Masuda, Yusuke 2" userId="89e8346c-0ffa-4e0a-bf4c-6fc819ed007b" providerId="ADAL" clId="{9288546F-35D6-4D52-BA48-A384361A391F}" dt="2026-05-20T04:45:52.321" v="34886" actId="18676"/>
        <pc:sldMkLst>
          <pc:docMk/>
          <pc:sldMk cId="2576178251" sldId="2147483417"/>
        </pc:sldMkLst>
        <pc:spChg chg="del">
          <ac:chgData name="Masuda, Yusuke 2" userId="89e8346c-0ffa-4e0a-bf4c-6fc819ed007b" providerId="ADAL" clId="{9288546F-35D6-4D52-BA48-A384361A391F}" dt="2026-05-19T03:52:56.372" v="29333" actId="478"/>
          <ac:spMkLst>
            <pc:docMk/>
            <pc:sldMk cId="2576178251" sldId="2147483417"/>
            <ac:spMk id="4" creationId="{ACBBCA88-4D94-4339-1B72-22994DFAB996}"/>
          </ac:spMkLst>
        </pc:spChg>
        <pc:spChg chg="mod topLvl">
          <ac:chgData name="Masuda, Yusuke 2" userId="89e8346c-0ffa-4e0a-bf4c-6fc819ed007b" providerId="ADAL" clId="{9288546F-35D6-4D52-BA48-A384361A391F}" dt="2026-05-19T04:20:54.168" v="32152" actId="20577"/>
          <ac:spMkLst>
            <pc:docMk/>
            <pc:sldMk cId="2576178251" sldId="2147483417"/>
            <ac:spMk id="6" creationId="{1A617D45-EC5A-4373-6B1E-5D3AD4060499}"/>
          </ac:spMkLst>
        </pc:spChg>
        <pc:spChg chg="del mod topLvl">
          <ac:chgData name="Masuda, Yusuke 2" userId="89e8346c-0ffa-4e0a-bf4c-6fc819ed007b" providerId="ADAL" clId="{9288546F-35D6-4D52-BA48-A384361A391F}" dt="2026-05-19T04:20:59.333" v="32154" actId="478"/>
          <ac:spMkLst>
            <pc:docMk/>
            <pc:sldMk cId="2576178251" sldId="2147483417"/>
            <ac:spMk id="7" creationId="{73705807-2D26-A694-EAC4-804A024F4304}"/>
          </ac:spMkLst>
        </pc:spChg>
        <pc:spChg chg="mod topLvl">
          <ac:chgData name="Masuda, Yusuke 2" userId="89e8346c-0ffa-4e0a-bf4c-6fc819ed007b" providerId="ADAL" clId="{9288546F-35D6-4D52-BA48-A384361A391F}" dt="2026-05-19T04:21:03.205" v="32178" actId="1035"/>
          <ac:spMkLst>
            <pc:docMk/>
            <pc:sldMk cId="2576178251" sldId="2147483417"/>
            <ac:spMk id="8" creationId="{C1297EB3-B4FF-0D60-94B3-DDDC9067D3C2}"/>
          </ac:spMkLst>
        </pc:spChg>
        <pc:spChg chg="del">
          <ac:chgData name="Masuda, Yusuke 2" userId="89e8346c-0ffa-4e0a-bf4c-6fc819ed007b" providerId="ADAL" clId="{9288546F-35D6-4D52-BA48-A384361A391F}" dt="2026-05-19T04:15:57.365" v="31717" actId="478"/>
          <ac:spMkLst>
            <pc:docMk/>
            <pc:sldMk cId="2576178251" sldId="2147483417"/>
            <ac:spMk id="9" creationId="{B2029B46-FAA7-0019-5E16-F02C7AF107BE}"/>
          </ac:spMkLst>
        </pc:spChg>
        <pc:spChg chg="del mod topLvl">
          <ac:chgData name="Masuda, Yusuke 2" userId="89e8346c-0ffa-4e0a-bf4c-6fc819ed007b" providerId="ADAL" clId="{9288546F-35D6-4D52-BA48-A384361A391F}" dt="2026-05-19T04:15:57.365" v="31717" actId="478"/>
          <ac:spMkLst>
            <pc:docMk/>
            <pc:sldMk cId="2576178251" sldId="2147483417"/>
            <ac:spMk id="10" creationId="{B9C00548-CBC9-53D0-14A4-DF4646D0EDC6}"/>
          </ac:spMkLst>
        </pc:spChg>
        <pc:spChg chg="del mod topLvl">
          <ac:chgData name="Masuda, Yusuke 2" userId="89e8346c-0ffa-4e0a-bf4c-6fc819ed007b" providerId="ADAL" clId="{9288546F-35D6-4D52-BA48-A384361A391F}" dt="2026-05-19T04:15:57.365" v="31717" actId="478"/>
          <ac:spMkLst>
            <pc:docMk/>
            <pc:sldMk cId="2576178251" sldId="2147483417"/>
            <ac:spMk id="11" creationId="{E022450B-7F90-5059-9B56-92FA1545CED2}"/>
          </ac:spMkLst>
        </pc:spChg>
        <pc:spChg chg="del">
          <ac:chgData name="Masuda, Yusuke 2" userId="89e8346c-0ffa-4e0a-bf4c-6fc819ed007b" providerId="ADAL" clId="{9288546F-35D6-4D52-BA48-A384361A391F}" dt="2026-05-19T04:15:57.365" v="31717" actId="478"/>
          <ac:spMkLst>
            <pc:docMk/>
            <pc:sldMk cId="2576178251" sldId="2147483417"/>
            <ac:spMk id="12" creationId="{A3133CBF-5D16-BA00-4667-03EF5468859F}"/>
          </ac:spMkLst>
        </pc:spChg>
        <pc:spChg chg="mod">
          <ac:chgData name="Masuda, Yusuke 2" userId="89e8346c-0ffa-4e0a-bf4c-6fc819ed007b" providerId="ADAL" clId="{9288546F-35D6-4D52-BA48-A384361A391F}" dt="2026-05-19T04:16:09.696" v="31747" actId="1076"/>
          <ac:spMkLst>
            <pc:docMk/>
            <pc:sldMk cId="2576178251" sldId="2147483417"/>
            <ac:spMk id="14" creationId="{FEA948E0-9969-7329-148B-EC31C982E3B9}"/>
          </ac:spMkLst>
        </pc:spChg>
        <pc:spChg chg="add mod">
          <ac:chgData name="Masuda, Yusuke 2" userId="89e8346c-0ffa-4e0a-bf4c-6fc819ed007b" providerId="ADAL" clId="{9288546F-35D6-4D52-BA48-A384361A391F}" dt="2026-05-19T04:18:26.692" v="32009" actId="14100"/>
          <ac:spMkLst>
            <pc:docMk/>
            <pc:sldMk cId="2576178251" sldId="2147483417"/>
            <ac:spMk id="15" creationId="{ACD7C8FE-6551-AD02-19A3-BC8A58FD8638}"/>
          </ac:spMkLst>
        </pc:spChg>
        <pc:spChg chg="add mod">
          <ac:chgData name="Masuda, Yusuke 2" userId="89e8346c-0ffa-4e0a-bf4c-6fc819ed007b" providerId="ADAL" clId="{9288546F-35D6-4D52-BA48-A384361A391F}" dt="2026-05-19T04:18:43.820" v="32028" actId="14100"/>
          <ac:spMkLst>
            <pc:docMk/>
            <pc:sldMk cId="2576178251" sldId="2147483417"/>
            <ac:spMk id="16" creationId="{570303B6-C194-0EE5-6B2A-5E54F9B5580A}"/>
          </ac:spMkLst>
        </pc:spChg>
        <pc:spChg chg="del mod topLvl">
          <ac:chgData name="Masuda, Yusuke 2" userId="89e8346c-0ffa-4e0a-bf4c-6fc819ed007b" providerId="ADAL" clId="{9288546F-35D6-4D52-BA48-A384361A391F}" dt="2026-05-19T04:15:57.365" v="31717" actId="478"/>
          <ac:spMkLst>
            <pc:docMk/>
            <pc:sldMk cId="2576178251" sldId="2147483417"/>
            <ac:spMk id="17" creationId="{FA21D5EF-A77A-C8F0-E8E3-5C49E2FB23EB}"/>
          </ac:spMkLst>
        </pc:spChg>
        <pc:spChg chg="del">
          <ac:chgData name="Masuda, Yusuke 2" userId="89e8346c-0ffa-4e0a-bf4c-6fc819ed007b" providerId="ADAL" clId="{9288546F-35D6-4D52-BA48-A384361A391F}" dt="2026-05-19T03:52:54.685" v="29332" actId="478"/>
          <ac:spMkLst>
            <pc:docMk/>
            <pc:sldMk cId="2576178251" sldId="2147483417"/>
            <ac:spMk id="20" creationId="{71872B3D-C677-3AAD-DFD3-2F4D71957641}"/>
          </ac:spMkLst>
        </pc:spChg>
        <pc:spChg chg="add mod">
          <ac:chgData name="Masuda, Yusuke 2" userId="89e8346c-0ffa-4e0a-bf4c-6fc819ed007b" providerId="ADAL" clId="{9288546F-35D6-4D52-BA48-A384361A391F}" dt="2026-05-19T04:19:12.759" v="32043" actId="14100"/>
          <ac:spMkLst>
            <pc:docMk/>
            <pc:sldMk cId="2576178251" sldId="2147483417"/>
            <ac:spMk id="21" creationId="{61AB3516-0449-F197-9D77-A5B4245699CD}"/>
          </ac:spMkLst>
        </pc:spChg>
        <pc:spChg chg="mod">
          <ac:chgData name="Masuda, Yusuke 2" userId="89e8346c-0ffa-4e0a-bf4c-6fc819ed007b" providerId="ADAL" clId="{9288546F-35D6-4D52-BA48-A384361A391F}" dt="2026-05-19T04:18:23.641" v="32008" actId="465"/>
          <ac:spMkLst>
            <pc:docMk/>
            <pc:sldMk cId="2576178251" sldId="2147483417"/>
            <ac:spMk id="23" creationId="{8D3D21C1-7BB3-B12A-D363-93FFF3E4C633}"/>
          </ac:spMkLst>
        </pc:spChg>
        <pc:spChg chg="mod">
          <ac:chgData name="Masuda, Yusuke 2" userId="89e8346c-0ffa-4e0a-bf4c-6fc819ed007b" providerId="ADAL" clId="{9288546F-35D6-4D52-BA48-A384361A391F}" dt="2026-05-19T04:18:23.641" v="32008" actId="465"/>
          <ac:spMkLst>
            <pc:docMk/>
            <pc:sldMk cId="2576178251" sldId="2147483417"/>
            <ac:spMk id="24" creationId="{411A1770-1CBB-61B7-AB0A-AA689A813DE4}"/>
          </ac:spMkLst>
        </pc:spChg>
        <pc:spChg chg="mod topLvl">
          <ac:chgData name="Masuda, Yusuke 2" userId="89e8346c-0ffa-4e0a-bf4c-6fc819ed007b" providerId="ADAL" clId="{9288546F-35D6-4D52-BA48-A384361A391F}" dt="2026-05-19T04:18:19.219" v="32007" actId="1036"/>
          <ac:spMkLst>
            <pc:docMk/>
            <pc:sldMk cId="2576178251" sldId="2147483417"/>
            <ac:spMk id="25" creationId="{D3047C43-5E9D-1819-7F3A-9F5C9EADF6C3}"/>
          </ac:spMkLst>
        </pc:spChg>
        <pc:spChg chg="del mod">
          <ac:chgData name="Masuda, Yusuke 2" userId="89e8346c-0ffa-4e0a-bf4c-6fc819ed007b" providerId="ADAL" clId="{9288546F-35D6-4D52-BA48-A384361A391F}" dt="2026-05-19T04:17:29.890" v="31855" actId="478"/>
          <ac:spMkLst>
            <pc:docMk/>
            <pc:sldMk cId="2576178251" sldId="2147483417"/>
            <ac:spMk id="26" creationId="{D534D290-101B-9EAE-F035-C6D9185F8827}"/>
          </ac:spMkLst>
        </pc:spChg>
        <pc:spChg chg="del mod">
          <ac:chgData name="Masuda, Yusuke 2" userId="89e8346c-0ffa-4e0a-bf4c-6fc819ed007b" providerId="ADAL" clId="{9288546F-35D6-4D52-BA48-A384361A391F}" dt="2026-05-19T04:17:30.340" v="31856" actId="478"/>
          <ac:spMkLst>
            <pc:docMk/>
            <pc:sldMk cId="2576178251" sldId="2147483417"/>
            <ac:spMk id="27" creationId="{373CC1CA-AEE0-B17E-E334-E0921596FFB9}"/>
          </ac:spMkLst>
        </pc:spChg>
        <pc:spChg chg="add del mod">
          <ac:chgData name="Masuda, Yusuke 2" userId="89e8346c-0ffa-4e0a-bf4c-6fc819ed007b" providerId="ADAL" clId="{9288546F-35D6-4D52-BA48-A384361A391F}" dt="2026-05-19T04:18:38.051" v="32027" actId="478"/>
          <ac:spMkLst>
            <pc:docMk/>
            <pc:sldMk cId="2576178251" sldId="2147483417"/>
            <ac:spMk id="28" creationId="{30BC91D6-0CBE-6588-BDC6-C52A9912255E}"/>
          </ac:spMkLst>
        </pc:spChg>
        <pc:spChg chg="add mod">
          <ac:chgData name="Masuda, Yusuke 2" userId="89e8346c-0ffa-4e0a-bf4c-6fc819ed007b" providerId="ADAL" clId="{9288546F-35D6-4D52-BA48-A384361A391F}" dt="2026-05-19T04:19:09.055" v="32042" actId="14100"/>
          <ac:spMkLst>
            <pc:docMk/>
            <pc:sldMk cId="2576178251" sldId="2147483417"/>
            <ac:spMk id="29" creationId="{68137992-9F06-4765-97F5-D0775D9064CA}"/>
          </ac:spMkLst>
        </pc:spChg>
        <pc:spChg chg="add mod">
          <ac:chgData name="Masuda, Yusuke 2" userId="89e8346c-0ffa-4e0a-bf4c-6fc819ed007b" providerId="ADAL" clId="{9288546F-35D6-4D52-BA48-A384361A391F}" dt="2026-05-19T04:18:57.168" v="32036" actId="1076"/>
          <ac:spMkLst>
            <pc:docMk/>
            <pc:sldMk cId="2576178251" sldId="2147483417"/>
            <ac:spMk id="30" creationId="{C2CEE9F6-8527-F501-7C02-4CA2327B924B}"/>
          </ac:spMkLst>
        </pc:spChg>
        <pc:spChg chg="add del mod">
          <ac:chgData name="Masuda, Yusuke 2" userId="89e8346c-0ffa-4e0a-bf4c-6fc819ed007b" providerId="ADAL" clId="{9288546F-35D6-4D52-BA48-A384361A391F}" dt="2026-05-19T03:53:23.014" v="29380" actId="478"/>
          <ac:spMkLst>
            <pc:docMk/>
            <pc:sldMk cId="2576178251" sldId="2147483417"/>
            <ac:spMk id="31" creationId="{24D0E5A6-AAD1-E553-A5D3-F2E1E5F5FEA4}"/>
          </ac:spMkLst>
        </pc:spChg>
        <pc:spChg chg="add del mod">
          <ac:chgData name="Masuda, Yusuke 2" userId="89e8346c-0ffa-4e0a-bf4c-6fc819ed007b" providerId="ADAL" clId="{9288546F-35D6-4D52-BA48-A384361A391F}" dt="2026-05-19T03:53:23.429" v="29381" actId="478"/>
          <ac:spMkLst>
            <pc:docMk/>
            <pc:sldMk cId="2576178251" sldId="2147483417"/>
            <ac:spMk id="32" creationId="{CBDAA114-9744-EF73-C8C4-64CE85509129}"/>
          </ac:spMkLst>
        </pc:spChg>
        <pc:spChg chg="add del mod">
          <ac:chgData name="Masuda, Yusuke 2" userId="89e8346c-0ffa-4e0a-bf4c-6fc819ed007b" providerId="ADAL" clId="{9288546F-35D6-4D52-BA48-A384361A391F}" dt="2026-05-19T04:18:34.429" v="32026" actId="478"/>
          <ac:spMkLst>
            <pc:docMk/>
            <pc:sldMk cId="2576178251" sldId="2147483417"/>
            <ac:spMk id="33" creationId="{88BEE213-B6AB-B422-64DA-6D3B21489914}"/>
          </ac:spMkLst>
        </pc:spChg>
        <pc:spChg chg="add del mod">
          <ac:chgData name="Masuda, Yusuke 2" userId="89e8346c-0ffa-4e0a-bf4c-6fc819ed007b" providerId="ADAL" clId="{9288546F-35D6-4D52-BA48-A384361A391F}" dt="2026-05-19T04:18:32.706" v="32025" actId="478"/>
          <ac:spMkLst>
            <pc:docMk/>
            <pc:sldMk cId="2576178251" sldId="2147483417"/>
            <ac:spMk id="34" creationId="{CBF3837F-A539-19DB-F17B-F0E9D303DB1E}"/>
          </ac:spMkLst>
        </pc:spChg>
        <pc:spChg chg="add mod">
          <ac:chgData name="Masuda, Yusuke 2" userId="89e8346c-0ffa-4e0a-bf4c-6fc819ed007b" providerId="ADAL" clId="{9288546F-35D6-4D52-BA48-A384361A391F}" dt="2026-05-19T04:17:59.360" v="31948" actId="1035"/>
          <ac:spMkLst>
            <pc:docMk/>
            <pc:sldMk cId="2576178251" sldId="2147483417"/>
            <ac:spMk id="35" creationId="{F8623F90-9352-1563-7DC2-18931C00DF87}"/>
          </ac:spMkLst>
        </pc:spChg>
        <pc:spChg chg="add del mod">
          <ac:chgData name="Masuda, Yusuke 2" userId="89e8346c-0ffa-4e0a-bf4c-6fc819ed007b" providerId="ADAL" clId="{9288546F-35D6-4D52-BA48-A384361A391F}" dt="2026-05-19T04:19:21.654" v="32046" actId="478"/>
          <ac:spMkLst>
            <pc:docMk/>
            <pc:sldMk cId="2576178251" sldId="2147483417"/>
            <ac:spMk id="36" creationId="{714A35E7-2707-0805-08CC-594CA5F6717A}"/>
          </ac:spMkLst>
        </pc:spChg>
        <pc:spChg chg="add mod">
          <ac:chgData name="Masuda, Yusuke 2" userId="89e8346c-0ffa-4e0a-bf4c-6fc819ed007b" providerId="ADAL" clId="{9288546F-35D6-4D52-BA48-A384361A391F}" dt="2026-05-19T04:19:38.535" v="32050" actId="14100"/>
          <ac:spMkLst>
            <pc:docMk/>
            <pc:sldMk cId="2576178251" sldId="2147483417"/>
            <ac:spMk id="37" creationId="{5FD1061C-DDB1-544B-9B1C-6B52E03E5B1D}"/>
          </ac:spMkLst>
        </pc:spChg>
        <pc:spChg chg="add mod">
          <ac:chgData name="Masuda, Yusuke 2" userId="89e8346c-0ffa-4e0a-bf4c-6fc819ed007b" providerId="ADAL" clId="{9288546F-35D6-4D52-BA48-A384361A391F}" dt="2026-05-19T04:19:49.068" v="32061" actId="207"/>
          <ac:spMkLst>
            <pc:docMk/>
            <pc:sldMk cId="2576178251" sldId="2147483417"/>
            <ac:spMk id="38" creationId="{047D7E07-4D96-0515-387B-834F61FC3333}"/>
          </ac:spMkLst>
        </pc:spChg>
        <pc:spChg chg="del mod topLvl">
          <ac:chgData name="Masuda, Yusuke 2" userId="89e8346c-0ffa-4e0a-bf4c-6fc819ed007b" providerId="ADAL" clId="{9288546F-35D6-4D52-BA48-A384361A391F}" dt="2026-05-19T04:16:36.799" v="31758" actId="478"/>
          <ac:spMkLst>
            <pc:docMk/>
            <pc:sldMk cId="2576178251" sldId="2147483417"/>
            <ac:spMk id="39" creationId="{3F73BEE9-3060-DE3C-AAF6-8E9281F9DB48}"/>
          </ac:spMkLst>
        </pc:spChg>
        <pc:spChg chg="del mod topLvl">
          <ac:chgData name="Masuda, Yusuke 2" userId="89e8346c-0ffa-4e0a-bf4c-6fc819ed007b" providerId="ADAL" clId="{9288546F-35D6-4D52-BA48-A384361A391F}" dt="2026-05-19T04:16:35.910" v="31757" actId="478"/>
          <ac:spMkLst>
            <pc:docMk/>
            <pc:sldMk cId="2576178251" sldId="2147483417"/>
            <ac:spMk id="40" creationId="{D8061704-D761-B21F-A01B-366237AE66E4}"/>
          </ac:spMkLst>
        </pc:spChg>
        <pc:spChg chg="del mod topLvl">
          <ac:chgData name="Masuda, Yusuke 2" userId="89e8346c-0ffa-4e0a-bf4c-6fc819ed007b" providerId="ADAL" clId="{9288546F-35D6-4D52-BA48-A384361A391F}" dt="2026-05-19T04:16:34.972" v="31756" actId="478"/>
          <ac:spMkLst>
            <pc:docMk/>
            <pc:sldMk cId="2576178251" sldId="2147483417"/>
            <ac:spMk id="41" creationId="{D11C2F4F-D10C-1121-0867-235C333F817A}"/>
          </ac:spMkLst>
        </pc:spChg>
        <pc:spChg chg="add mod">
          <ac:chgData name="Masuda, Yusuke 2" userId="89e8346c-0ffa-4e0a-bf4c-6fc819ed007b" providerId="ADAL" clId="{9288546F-35D6-4D52-BA48-A384361A391F}" dt="2026-05-19T04:21:07.084" v="32180" actId="14100"/>
          <ac:spMkLst>
            <pc:docMk/>
            <pc:sldMk cId="2576178251" sldId="2147483417"/>
            <ac:spMk id="42" creationId="{BDC3ABE8-08B8-42D6-3438-DEDC345D7475}"/>
          </ac:spMkLst>
        </pc:spChg>
        <pc:spChg chg="add mod">
          <ac:chgData name="Masuda, Yusuke 2" userId="89e8346c-0ffa-4e0a-bf4c-6fc819ed007b" providerId="ADAL" clId="{9288546F-35D6-4D52-BA48-A384361A391F}" dt="2026-05-19T04:20:17.531" v="32087" actId="1035"/>
          <ac:spMkLst>
            <pc:docMk/>
            <pc:sldMk cId="2576178251" sldId="2147483417"/>
            <ac:spMk id="43" creationId="{B30B71B8-6D75-5258-EB00-15314B6B4C51}"/>
          </ac:spMkLst>
        </pc:spChg>
        <pc:spChg chg="add mod">
          <ac:chgData name="Masuda, Yusuke 2" userId="89e8346c-0ffa-4e0a-bf4c-6fc819ed007b" providerId="ADAL" clId="{9288546F-35D6-4D52-BA48-A384361A391F}" dt="2026-05-19T04:21:23.770" v="32184" actId="14100"/>
          <ac:spMkLst>
            <pc:docMk/>
            <pc:sldMk cId="2576178251" sldId="2147483417"/>
            <ac:spMk id="44" creationId="{EAA4F0BC-D04A-B045-1DA1-9FA2D6FA92D6}"/>
          </ac:spMkLst>
        </pc:spChg>
        <pc:spChg chg="add del mod">
          <ac:chgData name="Masuda, Yusuke 2" userId="89e8346c-0ffa-4e0a-bf4c-6fc819ed007b" providerId="ADAL" clId="{9288546F-35D6-4D52-BA48-A384361A391F}" dt="2026-05-19T04:21:04.258" v="32179" actId="478"/>
          <ac:spMkLst>
            <pc:docMk/>
            <pc:sldMk cId="2576178251" sldId="2147483417"/>
            <ac:spMk id="45" creationId="{CD9513D4-9C48-3923-7C93-FD73A92EC1BF}"/>
          </ac:spMkLst>
        </pc:spChg>
        <pc:spChg chg="add del mod">
          <ac:chgData name="Masuda, Yusuke 2" userId="89e8346c-0ffa-4e0a-bf4c-6fc819ed007b" providerId="ADAL" clId="{9288546F-35D6-4D52-BA48-A384361A391F}" dt="2026-05-19T04:20:09.591" v="32076" actId="478"/>
          <ac:spMkLst>
            <pc:docMk/>
            <pc:sldMk cId="2576178251" sldId="2147483417"/>
            <ac:spMk id="46" creationId="{ABC71E44-5962-1FEB-D863-575A055499A0}"/>
          </ac:spMkLst>
        </pc:spChg>
        <pc:spChg chg="add del mod">
          <ac:chgData name="Masuda, Yusuke 2" userId="89e8346c-0ffa-4e0a-bf4c-6fc819ed007b" providerId="ADAL" clId="{9288546F-35D6-4D52-BA48-A384361A391F}" dt="2026-05-19T04:20:14.180" v="32077" actId="478"/>
          <ac:spMkLst>
            <pc:docMk/>
            <pc:sldMk cId="2576178251" sldId="2147483417"/>
            <ac:spMk id="47" creationId="{D6A6F4F1-AC69-E06D-AF0B-53FAA1D5CBC5}"/>
          </ac:spMkLst>
        </pc:spChg>
        <pc:spChg chg="add del mod">
          <ac:chgData name="Masuda, Yusuke 2" userId="89e8346c-0ffa-4e0a-bf4c-6fc819ed007b" providerId="ADAL" clId="{9288546F-35D6-4D52-BA48-A384361A391F}" dt="2026-05-19T04:20:14.180" v="32077" actId="478"/>
          <ac:spMkLst>
            <pc:docMk/>
            <pc:sldMk cId="2576178251" sldId="2147483417"/>
            <ac:spMk id="48" creationId="{3CE7AF49-6D48-D732-87DD-568B7DAE4DFC}"/>
          </ac:spMkLst>
        </pc:spChg>
        <pc:spChg chg="add mod">
          <ac:chgData name="Masuda, Yusuke 2" userId="89e8346c-0ffa-4e0a-bf4c-6fc819ed007b" providerId="ADAL" clId="{9288546F-35D6-4D52-BA48-A384361A391F}" dt="2026-05-19T04:21:19.258" v="32183" actId="1076"/>
          <ac:spMkLst>
            <pc:docMk/>
            <pc:sldMk cId="2576178251" sldId="2147483417"/>
            <ac:spMk id="49" creationId="{5851B4E9-9C56-1538-770F-7E5EF41EE754}"/>
          </ac:spMkLst>
        </pc:spChg>
        <pc:spChg chg="add mod">
          <ac:chgData name="Masuda, Yusuke 2" userId="89e8346c-0ffa-4e0a-bf4c-6fc819ed007b" providerId="ADAL" clId="{9288546F-35D6-4D52-BA48-A384361A391F}" dt="2026-05-19T04:21:19.258" v="32183" actId="1076"/>
          <ac:spMkLst>
            <pc:docMk/>
            <pc:sldMk cId="2576178251" sldId="2147483417"/>
            <ac:spMk id="50" creationId="{A74D0E92-F2E0-C695-FE5C-F9877881139E}"/>
          </ac:spMkLst>
        </pc:spChg>
        <pc:spChg chg="add mod">
          <ac:chgData name="Masuda, Yusuke 2" userId="89e8346c-0ffa-4e0a-bf4c-6fc819ed007b" providerId="ADAL" clId="{9288546F-35D6-4D52-BA48-A384361A391F}" dt="2026-05-19T04:22:08.329" v="32281" actId="1076"/>
          <ac:spMkLst>
            <pc:docMk/>
            <pc:sldMk cId="2576178251" sldId="2147483417"/>
            <ac:spMk id="52" creationId="{4F49C263-3AA3-70DB-D2E5-4FEF348C8337}"/>
          </ac:spMkLst>
        </pc:spChg>
        <pc:grpChg chg="mod">
          <ac:chgData name="Masuda, Yusuke 2" userId="89e8346c-0ffa-4e0a-bf4c-6fc819ed007b" providerId="ADAL" clId="{9288546F-35D6-4D52-BA48-A384361A391F}" dt="2026-05-19T03:53:47.359" v="29382" actId="14100"/>
          <ac:grpSpMkLst>
            <pc:docMk/>
            <pc:sldMk cId="2576178251" sldId="2147483417"/>
            <ac:grpSpMk id="5" creationId="{3AB66B6B-A1DA-BEEB-558B-6ED735E635EC}"/>
          </ac:grpSpMkLst>
        </pc:grpChg>
        <pc:grpChg chg="mod">
          <ac:chgData name="Masuda, Yusuke 2" userId="89e8346c-0ffa-4e0a-bf4c-6fc819ed007b" providerId="ADAL" clId="{9288546F-35D6-4D52-BA48-A384361A391F}" dt="2026-05-19T03:53:47.359" v="29382" actId="14100"/>
          <ac:grpSpMkLst>
            <pc:docMk/>
            <pc:sldMk cId="2576178251" sldId="2147483417"/>
            <ac:grpSpMk id="22" creationId="{36B863C6-3C62-DDEC-B06B-B2F0D66F92DA}"/>
          </ac:grpSpMkLst>
        </pc:grpChg>
        <pc:graphicFrameChg chg="mod">
          <ac:chgData name="Masuda, Yusuke 2" userId="89e8346c-0ffa-4e0a-bf4c-6fc819ed007b" providerId="ADAL" clId="{9288546F-35D6-4D52-BA48-A384361A391F}" dt="2026-05-19T04:18:30.927" v="32024" actId="1035"/>
          <ac:graphicFrameMkLst>
            <pc:docMk/>
            <pc:sldMk cId="2576178251" sldId="2147483417"/>
            <ac:graphicFrameMk id="3" creationId="{09E17CA9-3A15-1CDB-DAE3-18850C84E4EA}"/>
          </ac:graphicFrameMkLst>
        </pc:graphicFrameChg>
      </pc:sldChg>
      <pc:sldChg chg="addSp delSp modSp add del mod">
        <pc:chgData name="Masuda, Yusuke 2" userId="89e8346c-0ffa-4e0a-bf4c-6fc819ed007b" providerId="ADAL" clId="{9288546F-35D6-4D52-BA48-A384361A391F}" dt="2026-05-20T04:45:52.321" v="34886" actId="18676"/>
        <pc:sldMkLst>
          <pc:docMk/>
          <pc:sldMk cId="2376779457" sldId="2147483418"/>
        </pc:sldMkLst>
        <pc:spChg chg="add del mod">
          <ac:chgData name="Masuda, Yusuke 2" userId="89e8346c-0ffa-4e0a-bf4c-6fc819ed007b" providerId="ADAL" clId="{9288546F-35D6-4D52-BA48-A384361A391F}" dt="2026-05-20T02:32:12.105" v="34783" actId="478"/>
          <ac:spMkLst>
            <pc:docMk/>
            <pc:sldMk cId="2376779457" sldId="2147483418"/>
            <ac:spMk id="4" creationId="{9693F9B4-CA3F-F4F4-8D29-1280E12F62FC}"/>
          </ac:spMkLst>
        </pc:spChg>
        <pc:spChg chg="mod">
          <ac:chgData name="Masuda, Yusuke 2" userId="89e8346c-0ffa-4e0a-bf4c-6fc819ed007b" providerId="ADAL" clId="{9288546F-35D6-4D52-BA48-A384361A391F}" dt="2026-05-19T03:10:59.160" v="28842" actId="207"/>
          <ac:spMkLst>
            <pc:docMk/>
            <pc:sldMk cId="2376779457" sldId="2147483418"/>
            <ac:spMk id="7" creationId="{37246558-545E-E387-A0C0-036E4FAA4382}"/>
          </ac:spMkLst>
        </pc:spChg>
        <pc:spChg chg="add mod">
          <ac:chgData name="Masuda, Yusuke 2" userId="89e8346c-0ffa-4e0a-bf4c-6fc819ed007b" providerId="ADAL" clId="{9288546F-35D6-4D52-BA48-A384361A391F}" dt="2026-05-20T02:32:12.497" v="34784"/>
          <ac:spMkLst>
            <pc:docMk/>
            <pc:sldMk cId="2376779457" sldId="2147483418"/>
            <ac:spMk id="9" creationId="{F18EF825-773B-45FA-FF7A-FF519347974D}"/>
          </ac:spMkLst>
        </pc:spChg>
        <pc:spChg chg="mod">
          <ac:chgData name="Masuda, Yusuke 2" userId="89e8346c-0ffa-4e0a-bf4c-6fc819ed007b" providerId="ADAL" clId="{9288546F-35D6-4D52-BA48-A384361A391F}" dt="2026-05-20T02:32:27.241" v="34786"/>
          <ac:spMkLst>
            <pc:docMk/>
            <pc:sldMk cId="2376779457" sldId="2147483418"/>
            <ac:spMk id="10" creationId="{AD20E6E0-FC60-1985-CED1-05CAE01CA6C3}"/>
          </ac:spMkLst>
        </pc:spChg>
      </pc:sldChg>
      <pc:sldChg chg="add del">
        <pc:chgData name="Masuda, Yusuke 2" userId="89e8346c-0ffa-4e0a-bf4c-6fc819ed007b" providerId="ADAL" clId="{9288546F-35D6-4D52-BA48-A384361A391F}" dt="2026-05-18T08:42:59.967" v="20834" actId="2696"/>
        <pc:sldMkLst>
          <pc:docMk/>
          <pc:sldMk cId="2270909759" sldId="2147483419"/>
        </pc:sldMkLst>
      </pc:sldChg>
      <pc:sldChg chg="addSp delSp modSp add mod">
        <pc:chgData name="Masuda, Yusuke 2" userId="89e8346c-0ffa-4e0a-bf4c-6fc819ed007b" providerId="ADAL" clId="{9288546F-35D6-4D52-BA48-A384361A391F}" dt="2026-05-20T04:46:26.060" v="34894" actId="13926"/>
        <pc:sldMkLst>
          <pc:docMk/>
          <pc:sldMk cId="2184361748" sldId="2147483420"/>
        </pc:sldMkLst>
        <pc:spChg chg="add del mod">
          <ac:chgData name="Masuda, Yusuke 2" userId="89e8346c-0ffa-4e0a-bf4c-6fc819ed007b" providerId="ADAL" clId="{9288546F-35D6-4D52-BA48-A384361A391F}" dt="2026-05-20T04:46:23.243" v="34893" actId="478"/>
          <ac:spMkLst>
            <pc:docMk/>
            <pc:sldMk cId="2184361748" sldId="2147483420"/>
            <ac:spMk id="3" creationId="{47BE0A63-2356-C3FE-E673-9ED8D1798D47}"/>
          </ac:spMkLst>
        </pc:spChg>
        <pc:spChg chg="mod">
          <ac:chgData name="Masuda, Yusuke 2" userId="89e8346c-0ffa-4e0a-bf4c-6fc819ed007b" providerId="ADAL" clId="{9288546F-35D6-4D52-BA48-A384361A391F}" dt="2026-05-20T04:46:26.060" v="34894" actId="13926"/>
          <ac:spMkLst>
            <pc:docMk/>
            <pc:sldMk cId="2184361748" sldId="2147483420"/>
            <ac:spMk id="6" creationId="{1AC3C265-3B82-A168-DAC5-14CA528D9036}"/>
          </ac:spMkLst>
        </pc:spChg>
        <pc:spChg chg="mod">
          <ac:chgData name="Masuda, Yusuke 2" userId="89e8346c-0ffa-4e0a-bf4c-6fc819ed007b" providerId="ADAL" clId="{9288546F-35D6-4D52-BA48-A384361A391F}" dt="2026-05-18T08:44:46.130" v="20988" actId="1036"/>
          <ac:spMkLst>
            <pc:docMk/>
            <pc:sldMk cId="2184361748" sldId="2147483420"/>
            <ac:spMk id="11" creationId="{52CFB6C8-EA3F-2BB0-0F99-0D8906414FA0}"/>
          </ac:spMkLst>
        </pc:spChg>
        <pc:spChg chg="mod">
          <ac:chgData name="Masuda, Yusuke 2" userId="89e8346c-0ffa-4e0a-bf4c-6fc819ed007b" providerId="ADAL" clId="{9288546F-35D6-4D52-BA48-A384361A391F}" dt="2026-05-18T08:46:05.657" v="21184" actId="20577"/>
          <ac:spMkLst>
            <pc:docMk/>
            <pc:sldMk cId="2184361748" sldId="2147483420"/>
            <ac:spMk id="41" creationId="{A9A876C8-F096-BA14-CB5D-D3EE7DB72C02}"/>
          </ac:spMkLst>
        </pc:spChg>
        <pc:spChg chg="mod">
          <ac:chgData name="Masuda, Yusuke 2" userId="89e8346c-0ffa-4e0a-bf4c-6fc819ed007b" providerId="ADAL" clId="{9288546F-35D6-4D52-BA48-A384361A391F}" dt="2026-05-20T01:32:56.019" v="34658" actId="13926"/>
          <ac:spMkLst>
            <pc:docMk/>
            <pc:sldMk cId="2184361748" sldId="2147483420"/>
            <ac:spMk id="42" creationId="{68CEA2AA-FF24-78A7-D185-6BFDDBD7B1A4}"/>
          </ac:spMkLst>
        </pc:spChg>
        <pc:spChg chg="mod">
          <ac:chgData name="Masuda, Yusuke 2" userId="89e8346c-0ffa-4e0a-bf4c-6fc819ed007b" providerId="ADAL" clId="{9288546F-35D6-4D52-BA48-A384361A391F}" dt="2026-05-18T08:44:46.130" v="20988" actId="1036"/>
          <ac:spMkLst>
            <pc:docMk/>
            <pc:sldMk cId="2184361748" sldId="2147483420"/>
            <ac:spMk id="43" creationId="{ED09587D-6BB1-6264-D71F-F00C3BEB050C}"/>
          </ac:spMkLst>
        </pc:spChg>
        <pc:spChg chg="mod">
          <ac:chgData name="Masuda, Yusuke 2" userId="89e8346c-0ffa-4e0a-bf4c-6fc819ed007b" providerId="ADAL" clId="{9288546F-35D6-4D52-BA48-A384361A391F}" dt="2026-05-19T04:41:17.944" v="33793" actId="3064"/>
          <ac:spMkLst>
            <pc:docMk/>
            <pc:sldMk cId="2184361748" sldId="2147483420"/>
            <ac:spMk id="44" creationId="{7703C5AF-C938-3F97-B12C-03890A4AF666}"/>
          </ac:spMkLst>
        </pc:spChg>
        <pc:spChg chg="mod">
          <ac:chgData name="Masuda, Yusuke 2" userId="89e8346c-0ffa-4e0a-bf4c-6fc819ed007b" providerId="ADAL" clId="{9288546F-35D6-4D52-BA48-A384361A391F}" dt="2026-05-19T04:41:22.010" v="33807"/>
          <ac:spMkLst>
            <pc:docMk/>
            <pc:sldMk cId="2184361748" sldId="2147483420"/>
            <ac:spMk id="45" creationId="{C05BC922-EDCE-B9B7-F490-C9D1223F7491}"/>
          </ac:spMkLst>
        </pc:spChg>
        <pc:spChg chg="mod">
          <ac:chgData name="Masuda, Yusuke 2" userId="89e8346c-0ffa-4e0a-bf4c-6fc819ed007b" providerId="ADAL" clId="{9288546F-35D6-4D52-BA48-A384361A391F}" dt="2026-05-19T04:41:21.596" v="33805"/>
          <ac:spMkLst>
            <pc:docMk/>
            <pc:sldMk cId="2184361748" sldId="2147483420"/>
            <ac:spMk id="71" creationId="{A72F6346-B1F2-7095-CCD2-9CE4B62F3CC9}"/>
          </ac:spMkLst>
        </pc:spChg>
        <pc:spChg chg="mod">
          <ac:chgData name="Masuda, Yusuke 2" userId="89e8346c-0ffa-4e0a-bf4c-6fc819ed007b" providerId="ADAL" clId="{9288546F-35D6-4D52-BA48-A384361A391F}" dt="2026-05-19T04:41:17.944" v="33793" actId="3064"/>
          <ac:spMkLst>
            <pc:docMk/>
            <pc:sldMk cId="2184361748" sldId="2147483420"/>
            <ac:spMk id="73" creationId="{202DC7F0-0430-D4F7-1B0C-D488EBDA195B}"/>
          </ac:spMkLst>
        </pc:spChg>
        <pc:spChg chg="mod">
          <ac:chgData name="Masuda, Yusuke 2" userId="89e8346c-0ffa-4e0a-bf4c-6fc819ed007b" providerId="ADAL" clId="{9288546F-35D6-4D52-BA48-A384361A391F}" dt="2026-05-18T08:44:46.130" v="20988" actId="1036"/>
          <ac:spMkLst>
            <pc:docMk/>
            <pc:sldMk cId="2184361748" sldId="2147483420"/>
            <ac:spMk id="74" creationId="{08063FB9-ED94-A3AE-4628-237E82F110CC}"/>
          </ac:spMkLst>
        </pc:spChg>
        <pc:spChg chg="mod">
          <ac:chgData name="Masuda, Yusuke 2" userId="89e8346c-0ffa-4e0a-bf4c-6fc819ed007b" providerId="ADAL" clId="{9288546F-35D6-4D52-BA48-A384361A391F}" dt="2026-05-19T04:41:17.944" v="33793" actId="3064"/>
          <ac:spMkLst>
            <pc:docMk/>
            <pc:sldMk cId="2184361748" sldId="2147483420"/>
            <ac:spMk id="76" creationId="{4B6359B5-BDC7-8701-BAD2-62AE7E434179}"/>
          </ac:spMkLst>
        </pc:spChg>
        <pc:spChg chg="mod">
          <ac:chgData name="Masuda, Yusuke 2" userId="89e8346c-0ffa-4e0a-bf4c-6fc819ed007b" providerId="ADAL" clId="{9288546F-35D6-4D52-BA48-A384361A391F}" dt="2026-05-18T08:44:46.130" v="20988" actId="1036"/>
          <ac:spMkLst>
            <pc:docMk/>
            <pc:sldMk cId="2184361748" sldId="2147483420"/>
            <ac:spMk id="77" creationId="{A85783D6-5396-D089-5D1F-B29652A0B97A}"/>
          </ac:spMkLst>
        </pc:spChg>
        <pc:spChg chg="mod">
          <ac:chgData name="Masuda, Yusuke 2" userId="89e8346c-0ffa-4e0a-bf4c-6fc819ed007b" providerId="ADAL" clId="{9288546F-35D6-4D52-BA48-A384361A391F}" dt="2026-05-18T08:44:46.130" v="20988" actId="1036"/>
          <ac:spMkLst>
            <pc:docMk/>
            <pc:sldMk cId="2184361748" sldId="2147483420"/>
            <ac:spMk id="78" creationId="{5E76D757-F560-4848-86E3-FED46595E114}"/>
          </ac:spMkLst>
        </pc:spChg>
        <pc:spChg chg="mod">
          <ac:chgData name="Masuda, Yusuke 2" userId="89e8346c-0ffa-4e0a-bf4c-6fc819ed007b" providerId="ADAL" clId="{9288546F-35D6-4D52-BA48-A384361A391F}" dt="2026-05-19T04:41:17.944" v="33793" actId="3064"/>
          <ac:spMkLst>
            <pc:docMk/>
            <pc:sldMk cId="2184361748" sldId="2147483420"/>
            <ac:spMk id="79" creationId="{BB7B11DE-CB64-D641-098B-602155A81D9F}"/>
          </ac:spMkLst>
        </pc:spChg>
        <pc:spChg chg="mod">
          <ac:chgData name="Masuda, Yusuke 2" userId="89e8346c-0ffa-4e0a-bf4c-6fc819ed007b" providerId="ADAL" clId="{9288546F-35D6-4D52-BA48-A384361A391F}" dt="2026-05-18T08:43:58.054" v="20933"/>
          <ac:spMkLst>
            <pc:docMk/>
            <pc:sldMk cId="2184361748" sldId="2147483420"/>
            <ac:spMk id="118" creationId="{BC501DBF-7B28-CA9B-D9D9-0C81CEEB7C94}"/>
          </ac:spMkLst>
        </pc:spChg>
        <pc:spChg chg="mod">
          <ac:chgData name="Masuda, Yusuke 2" userId="89e8346c-0ffa-4e0a-bf4c-6fc819ed007b" providerId="ADAL" clId="{9288546F-35D6-4D52-BA48-A384361A391F}" dt="2026-05-18T08:44:46.130" v="20988" actId="1036"/>
          <ac:spMkLst>
            <pc:docMk/>
            <pc:sldMk cId="2184361748" sldId="2147483420"/>
            <ac:spMk id="119" creationId="{9946071B-DB83-5CE5-A839-3F89025F2106}"/>
          </ac:spMkLst>
        </pc:spChg>
        <pc:spChg chg="mod">
          <ac:chgData name="Masuda, Yusuke 2" userId="89e8346c-0ffa-4e0a-bf4c-6fc819ed007b" providerId="ADAL" clId="{9288546F-35D6-4D52-BA48-A384361A391F}" dt="2026-05-18T08:44:03.667" v="20944"/>
          <ac:spMkLst>
            <pc:docMk/>
            <pc:sldMk cId="2184361748" sldId="2147483420"/>
            <ac:spMk id="120" creationId="{F2F1F5E0-19C5-66C4-041C-2D5C1E07EBF8}"/>
          </ac:spMkLst>
        </pc:spChg>
        <pc:spChg chg="mod">
          <ac:chgData name="Masuda, Yusuke 2" userId="89e8346c-0ffa-4e0a-bf4c-6fc819ed007b" providerId="ADAL" clId="{9288546F-35D6-4D52-BA48-A384361A391F}" dt="2026-05-18T08:44:13.050" v="20962" actId="20577"/>
          <ac:spMkLst>
            <pc:docMk/>
            <pc:sldMk cId="2184361748" sldId="2147483420"/>
            <ac:spMk id="121" creationId="{E1693AFF-4A8E-6EE2-C581-0B979259CB68}"/>
          </ac:spMkLst>
        </pc:spChg>
        <pc:spChg chg="mod">
          <ac:chgData name="Masuda, Yusuke 2" userId="89e8346c-0ffa-4e0a-bf4c-6fc819ed007b" providerId="ADAL" clId="{9288546F-35D6-4D52-BA48-A384361A391F}" dt="2026-05-18T08:44:46.130" v="20988" actId="1036"/>
          <ac:spMkLst>
            <pc:docMk/>
            <pc:sldMk cId="2184361748" sldId="2147483420"/>
            <ac:spMk id="122" creationId="{C71B9353-9CCE-84C4-2CBA-E99855399110}"/>
          </ac:spMkLst>
        </pc:spChg>
      </pc:sldChg>
      <pc:sldChg chg="addSp delSp modSp add del mod">
        <pc:chgData name="Masuda, Yusuke 2" userId="89e8346c-0ffa-4e0a-bf4c-6fc819ed007b" providerId="ADAL" clId="{9288546F-35D6-4D52-BA48-A384361A391F}" dt="2026-05-20T04:45:52.321" v="34886" actId="18676"/>
        <pc:sldMkLst>
          <pc:docMk/>
          <pc:sldMk cId="2097412771" sldId="2147483421"/>
        </pc:sldMkLst>
        <pc:spChg chg="add del mod">
          <ac:chgData name="Masuda, Yusuke 2" userId="89e8346c-0ffa-4e0a-bf4c-6fc819ed007b" providerId="ADAL" clId="{9288546F-35D6-4D52-BA48-A384361A391F}" dt="2026-05-20T01:38:51.698" v="34681" actId="478"/>
          <ac:spMkLst>
            <pc:docMk/>
            <pc:sldMk cId="2097412771" sldId="2147483421"/>
            <ac:spMk id="3" creationId="{1F0A5299-3571-C56C-0F45-441628E82430}"/>
          </ac:spMkLst>
        </pc:spChg>
        <pc:spChg chg="mod">
          <ac:chgData name="Masuda, Yusuke 2" userId="89e8346c-0ffa-4e0a-bf4c-6fc819ed007b" providerId="ADAL" clId="{9288546F-35D6-4D52-BA48-A384361A391F}" dt="2026-05-20T01:34:54.479" v="34659"/>
          <ac:spMkLst>
            <pc:docMk/>
            <pc:sldMk cId="2097412771" sldId="2147483421"/>
            <ac:spMk id="6" creationId="{C74FDF17-9E03-360C-9012-C0995B9BA849}"/>
          </ac:spMkLst>
        </pc:spChg>
        <pc:spChg chg="del">
          <ac:chgData name="Masuda, Yusuke 2" userId="89e8346c-0ffa-4e0a-bf4c-6fc819ed007b" providerId="ADAL" clId="{9288546F-35D6-4D52-BA48-A384361A391F}" dt="2026-05-20T01:35:09.215" v="34660" actId="478"/>
          <ac:spMkLst>
            <pc:docMk/>
            <pc:sldMk cId="2097412771" sldId="2147483421"/>
            <ac:spMk id="20" creationId="{23539708-2C94-DB47-2331-D5A4B2401AFB}"/>
          </ac:spMkLst>
        </pc:spChg>
        <pc:spChg chg="mod">
          <ac:chgData name="Masuda, Yusuke 2" userId="89e8346c-0ffa-4e0a-bf4c-6fc819ed007b" providerId="ADAL" clId="{9288546F-35D6-4D52-BA48-A384361A391F}" dt="2026-05-20T01:35:14.492" v="34663" actId="13926"/>
          <ac:spMkLst>
            <pc:docMk/>
            <pc:sldMk cId="2097412771" sldId="2147483421"/>
            <ac:spMk id="42" creationId="{2B80C7E4-3450-7D4E-9465-ECEFE506B28E}"/>
          </ac:spMkLst>
        </pc:spChg>
      </pc:sldChg>
      <pc:sldChg chg="addSp delSp modSp add del mod">
        <pc:chgData name="Masuda, Yusuke 2" userId="89e8346c-0ffa-4e0a-bf4c-6fc819ed007b" providerId="ADAL" clId="{9288546F-35D6-4D52-BA48-A384361A391F}" dt="2026-05-20T04:45:52.321" v="34886" actId="18676"/>
        <pc:sldMkLst>
          <pc:docMk/>
          <pc:sldMk cId="909001856" sldId="2147483422"/>
        </pc:sldMkLst>
        <pc:spChg chg="del">
          <ac:chgData name="Masuda, Yusuke 2" userId="89e8346c-0ffa-4e0a-bf4c-6fc819ed007b" providerId="ADAL" clId="{9288546F-35D6-4D52-BA48-A384361A391F}" dt="2026-05-20T01:35:54.348" v="34672" actId="478"/>
          <ac:spMkLst>
            <pc:docMk/>
            <pc:sldMk cId="909001856" sldId="2147483422"/>
            <ac:spMk id="3" creationId="{CBE3F622-DB51-CB75-1D0E-AB23D9737D1E}"/>
          </ac:spMkLst>
        </pc:spChg>
        <pc:spChg chg="add mod">
          <ac:chgData name="Masuda, Yusuke 2" userId="89e8346c-0ffa-4e0a-bf4c-6fc819ed007b" providerId="ADAL" clId="{9288546F-35D6-4D52-BA48-A384361A391F}" dt="2026-05-20T01:35:36.847" v="34665"/>
          <ac:spMkLst>
            <pc:docMk/>
            <pc:sldMk cId="909001856" sldId="2147483422"/>
            <ac:spMk id="5" creationId="{058234E1-C2CF-0A34-D57B-9B0CE6D6581E}"/>
          </ac:spMkLst>
        </pc:spChg>
        <pc:spChg chg="add del mod">
          <ac:chgData name="Masuda, Yusuke 2" userId="89e8346c-0ffa-4e0a-bf4c-6fc819ed007b" providerId="ADAL" clId="{9288546F-35D6-4D52-BA48-A384361A391F}" dt="2026-05-20T01:35:48.133" v="34669"/>
          <ac:spMkLst>
            <pc:docMk/>
            <pc:sldMk cId="909001856" sldId="2147483422"/>
            <ac:spMk id="6" creationId="{E556D2C7-5E3D-FFE4-4064-BBD601B88E1E}"/>
          </ac:spMkLst>
        </pc:spChg>
        <pc:spChg chg="add mod">
          <ac:chgData name="Masuda, Yusuke 2" userId="89e8346c-0ffa-4e0a-bf4c-6fc819ed007b" providerId="ADAL" clId="{9288546F-35D6-4D52-BA48-A384361A391F}" dt="2026-05-20T01:35:36.847" v="34665"/>
          <ac:spMkLst>
            <pc:docMk/>
            <pc:sldMk cId="909001856" sldId="2147483422"/>
            <ac:spMk id="10" creationId="{3BF148E6-A2C9-F9D0-215D-AABB3BA3C43D}"/>
          </ac:spMkLst>
        </pc:spChg>
        <pc:spChg chg="add del mod">
          <ac:chgData name="Masuda, Yusuke 2" userId="89e8346c-0ffa-4e0a-bf4c-6fc819ed007b" providerId="ADAL" clId="{9288546F-35D6-4D52-BA48-A384361A391F}" dt="2026-05-20T01:35:51.925" v="34670" actId="478"/>
          <ac:spMkLst>
            <pc:docMk/>
            <pc:sldMk cId="909001856" sldId="2147483422"/>
            <ac:spMk id="11" creationId="{BD0A9114-3C36-E5D1-2FCA-C3A727A9CD53}"/>
          </ac:spMkLst>
        </pc:spChg>
        <pc:spChg chg="add mod">
          <ac:chgData name="Masuda, Yusuke 2" userId="89e8346c-0ffa-4e0a-bf4c-6fc819ed007b" providerId="ADAL" clId="{9288546F-35D6-4D52-BA48-A384361A391F}" dt="2026-05-20T01:35:55.697" v="34673" actId="1076"/>
          <ac:spMkLst>
            <pc:docMk/>
            <pc:sldMk cId="909001856" sldId="2147483422"/>
            <ac:spMk id="12" creationId="{BB2AF84E-C66B-8841-9AF1-62FC9F99A6F5}"/>
          </ac:spMkLst>
        </pc:spChg>
        <pc:spChg chg="mod">
          <ac:chgData name="Masuda, Yusuke 2" userId="89e8346c-0ffa-4e0a-bf4c-6fc819ed007b" providerId="ADAL" clId="{9288546F-35D6-4D52-BA48-A384361A391F}" dt="2026-05-20T01:36:05.946" v="34675" actId="13926"/>
          <ac:spMkLst>
            <pc:docMk/>
            <pc:sldMk cId="909001856" sldId="2147483422"/>
            <ac:spMk id="42" creationId="{E35BD20B-3506-E8ED-9230-E808DC1AC6EB}"/>
          </ac:spMkLst>
        </pc:spChg>
      </pc:sldChg>
    </pc:docChg>
  </pc:docChgLst>
  <pc:docChgLst>
    <pc:chgData name="Toriyama, Haruyuki" userId="9e31f75d-8e38-4175-8aeb-61edf46a2832" providerId="ADAL" clId="{BDDD9722-96CC-4100-84D7-0A481B90C9A8}"/>
    <pc:docChg chg="modSld">
      <pc:chgData name="Toriyama, Haruyuki" userId="9e31f75d-8e38-4175-8aeb-61edf46a2832" providerId="ADAL" clId="{BDDD9722-96CC-4100-84D7-0A481B90C9A8}" dt="2026-04-29T13:27:49.538" v="0" actId="207"/>
      <pc:docMkLst>
        <pc:docMk/>
      </pc:docMkLst>
      <pc:sldChg chg="modSp mod">
        <pc:chgData name="Toriyama, Haruyuki" userId="9e31f75d-8e38-4175-8aeb-61edf46a2832" providerId="ADAL" clId="{BDDD9722-96CC-4100-84D7-0A481B90C9A8}" dt="2026-04-29T13:27:49.538" v="0" actId="207"/>
        <pc:sldMkLst>
          <pc:docMk/>
          <pc:sldMk cId="2775241172" sldId="2147483381"/>
        </pc:sldMkLst>
        <pc:spChg chg="mod">
          <ac:chgData name="Toriyama, Haruyuki" userId="9e31f75d-8e38-4175-8aeb-61edf46a2832" providerId="ADAL" clId="{BDDD9722-96CC-4100-84D7-0A481B90C9A8}" dt="2026-04-29T13:27:49.538" v="0" actId="207"/>
          <ac:spMkLst>
            <pc:docMk/>
            <pc:sldMk cId="2775241172" sldId="2147483381"/>
            <ac:spMk id="22" creationId="{D612CA7C-0132-D981-94C9-64CBBD03AE3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9042" cy="513789"/>
          </a:xfrm>
          <a:prstGeom prst="rect">
            <a:avLst/>
          </a:prstGeom>
        </p:spPr>
        <p:txBody>
          <a:bodyPr vert="horz" lIns="95485" tIns="47742" rIns="95485" bIns="47742" rtlCol="0"/>
          <a:lstStyle>
            <a:lvl1pPr algn="l">
              <a:defRPr sz="13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4023348" y="0"/>
            <a:ext cx="3079040" cy="513789"/>
          </a:xfrm>
          <a:prstGeom prst="rect">
            <a:avLst/>
          </a:prstGeom>
        </p:spPr>
        <p:txBody>
          <a:bodyPr vert="horz" lIns="95485" tIns="47742" rIns="95485" bIns="47742" rtlCol="0"/>
          <a:lstStyle>
            <a:lvl1pPr algn="r">
              <a:defRPr sz="13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5/20</a:t>
            </a:fld>
            <a:endParaRPr kumimoji="1" lang="ja-JP" altLang="en-US"/>
          </a:p>
        </p:txBody>
      </p:sp>
      <p:sp>
        <p:nvSpPr>
          <p:cNvPr id="4" name="スライド イメージ プレースホルダー 3"/>
          <p:cNvSpPr>
            <a:spLocks noGrp="1" noRot="1" noChangeAspect="1"/>
          </p:cNvSpPr>
          <p:nvPr>
            <p:ph type="sldImg" idx="2"/>
          </p:nvPr>
        </p:nvSpPr>
        <p:spPr>
          <a:xfrm>
            <a:off x="1058863" y="1279525"/>
            <a:ext cx="4986337" cy="3452813"/>
          </a:xfrm>
          <a:prstGeom prst="rect">
            <a:avLst/>
          </a:prstGeom>
          <a:noFill/>
          <a:ln w="12700">
            <a:solidFill>
              <a:prstClr val="black"/>
            </a:solidFill>
          </a:ln>
        </p:spPr>
        <p:txBody>
          <a:bodyPr vert="horz" lIns="95485" tIns="47742" rIns="95485" bIns="47742" rtlCol="0" anchor="ctr"/>
          <a:lstStyle/>
          <a:p>
            <a:endParaRPr lang="ja-JP" altLang="en-US"/>
          </a:p>
        </p:txBody>
      </p:sp>
      <p:sp>
        <p:nvSpPr>
          <p:cNvPr id="5" name="ノート プレースホルダー 4"/>
          <p:cNvSpPr>
            <a:spLocks noGrp="1"/>
          </p:cNvSpPr>
          <p:nvPr>
            <p:ph type="body" sz="quarter" idx="3"/>
          </p:nvPr>
        </p:nvSpPr>
        <p:spPr>
          <a:xfrm>
            <a:off x="709906" y="4925459"/>
            <a:ext cx="5684255" cy="4029621"/>
          </a:xfrm>
          <a:prstGeom prst="rect">
            <a:avLst/>
          </a:prstGeom>
        </p:spPr>
        <p:txBody>
          <a:bodyPr vert="horz" lIns="95485" tIns="47742" rIns="95485" bIns="4774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0824"/>
            <a:ext cx="3079042" cy="513789"/>
          </a:xfrm>
          <a:prstGeom prst="rect">
            <a:avLst/>
          </a:prstGeom>
        </p:spPr>
        <p:txBody>
          <a:bodyPr vert="horz" lIns="95485" tIns="47742" rIns="95485" bIns="47742" rtlCol="0" anchor="b"/>
          <a:lstStyle>
            <a:lvl1pPr algn="l">
              <a:defRPr sz="13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4023348" y="9720824"/>
            <a:ext cx="3079040" cy="513789"/>
          </a:xfrm>
          <a:prstGeom prst="rect">
            <a:avLst/>
          </a:prstGeom>
        </p:spPr>
        <p:txBody>
          <a:bodyPr vert="horz" lIns="95485" tIns="47742" rIns="95485" bIns="47742" rtlCol="0" anchor="b"/>
          <a:lstStyle>
            <a:lvl1pPr algn="r">
              <a:defRPr sz="13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1</a:t>
            </a:fld>
            <a:endParaRPr kumimoji="1" lang="ja-JP" altLang="en-US"/>
          </a:p>
        </p:txBody>
      </p:sp>
    </p:spTree>
    <p:extLst>
      <p:ext uri="{BB962C8B-B14F-4D97-AF65-F5344CB8AC3E}">
        <p14:creationId xmlns:p14="http://schemas.microsoft.com/office/powerpoint/2010/main" val="2606141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6E9BF-CB78-4CE0-167A-12BA4008734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C7E94A2-0B4E-C4FD-60A2-2F2E38440CC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B2C3287-20E1-F0A4-757A-2D5153EBD3B5}"/>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3624833-6A3D-8C19-4471-F07F38D67EE0}"/>
              </a:ext>
            </a:extLst>
          </p:cNvPr>
          <p:cNvSpPr>
            <a:spLocks noGrp="1"/>
          </p:cNvSpPr>
          <p:nvPr>
            <p:ph type="sldNum" sz="quarter" idx="5"/>
          </p:nvPr>
        </p:nvSpPr>
        <p:spPr/>
        <p:txBody>
          <a:bodyPr/>
          <a:lstStyle/>
          <a:p>
            <a:fld id="{24DE13BB-FCB6-4491-A87D-1E9BA7500F8E}" type="slidenum">
              <a:rPr kumimoji="1" lang="ja-JP" altLang="en-US" smtClean="0"/>
              <a:pPr/>
              <a:t>12</a:t>
            </a:fld>
            <a:endParaRPr kumimoji="1" lang="ja-JP" altLang="en-US"/>
          </a:p>
        </p:txBody>
      </p:sp>
    </p:spTree>
    <p:extLst>
      <p:ext uri="{BB962C8B-B14F-4D97-AF65-F5344CB8AC3E}">
        <p14:creationId xmlns:p14="http://schemas.microsoft.com/office/powerpoint/2010/main" val="1944154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5</a:t>
            </a:fld>
            <a:endParaRPr kumimoji="1" lang="ja-JP" altLang="en-US"/>
          </a:p>
        </p:txBody>
      </p:sp>
    </p:spTree>
    <p:extLst>
      <p:ext uri="{BB962C8B-B14F-4D97-AF65-F5344CB8AC3E}">
        <p14:creationId xmlns:p14="http://schemas.microsoft.com/office/powerpoint/2010/main" val="1237498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584A7-B884-FA88-EF09-71666B56916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2F3614D-D288-0956-0BDE-C31904B8DEF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F395B5D-0F9D-1B6A-8FFC-48DA1C96E57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B1FD481-E181-AA71-6620-98ED6470E65B}"/>
              </a:ext>
            </a:extLst>
          </p:cNvPr>
          <p:cNvSpPr>
            <a:spLocks noGrp="1"/>
          </p:cNvSpPr>
          <p:nvPr>
            <p:ph type="sldNum" sz="quarter" idx="5"/>
          </p:nvPr>
        </p:nvSpPr>
        <p:spPr/>
        <p:txBody>
          <a:bodyPr/>
          <a:lstStyle/>
          <a:p>
            <a:fld id="{24DE13BB-FCB6-4491-A87D-1E9BA7500F8E}" type="slidenum">
              <a:rPr kumimoji="1" lang="ja-JP" altLang="en-US" smtClean="0"/>
              <a:pPr/>
              <a:t>18</a:t>
            </a:fld>
            <a:endParaRPr kumimoji="1" lang="ja-JP" altLang="en-US"/>
          </a:p>
        </p:txBody>
      </p:sp>
    </p:spTree>
    <p:extLst>
      <p:ext uri="{BB962C8B-B14F-4D97-AF65-F5344CB8AC3E}">
        <p14:creationId xmlns:p14="http://schemas.microsoft.com/office/powerpoint/2010/main" val="2867483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0</a:t>
            </a:fld>
            <a:endParaRPr kumimoji="1" lang="ja-JP" altLang="en-US"/>
          </a:p>
        </p:txBody>
      </p:sp>
    </p:spTree>
    <p:extLst>
      <p:ext uri="{BB962C8B-B14F-4D97-AF65-F5344CB8AC3E}">
        <p14:creationId xmlns:p14="http://schemas.microsoft.com/office/powerpoint/2010/main" val="42518424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1</a:t>
            </a:fld>
            <a:endParaRPr kumimoji="1" lang="ja-JP" altLang="en-US"/>
          </a:p>
        </p:txBody>
      </p:sp>
    </p:spTree>
    <p:extLst>
      <p:ext uri="{BB962C8B-B14F-4D97-AF65-F5344CB8AC3E}">
        <p14:creationId xmlns:p14="http://schemas.microsoft.com/office/powerpoint/2010/main" val="41333905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Tree>
    <p:extLst>
      <p:ext uri="{BB962C8B-B14F-4D97-AF65-F5344CB8AC3E}">
        <p14:creationId xmlns:p14="http://schemas.microsoft.com/office/powerpoint/2010/main" val="2643205195"/>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4004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5" name="テキスト プレースホルダ 5"/>
          <p:cNvSpPr>
            <a:spLocks noGrp="1"/>
          </p:cNvSpPr>
          <p:nvPr>
            <p:ph type="body" sz="quarter" idx="14" hasCustomPrompt="1"/>
          </p:nvPr>
        </p:nvSpPr>
        <p:spPr bwMode="gray">
          <a:xfrm>
            <a:off x="417000" y="1009580"/>
            <a:ext cx="9072000" cy="468000"/>
          </a:xfrm>
          <a:prstGeom prst="rect">
            <a:avLst/>
          </a:prstGeom>
        </p:spPr>
        <p:txBody>
          <a:bodyPr lIns="0" tIns="0" rIns="0" bIns="0">
            <a:noAutofit/>
          </a:bodyPr>
          <a:lstStyle>
            <a:lvl1pPr marL="0" indent="0">
              <a:spcBef>
                <a:spcPts val="0"/>
              </a:spcBef>
              <a:defRPr sz="1400" baseline="0">
                <a:solidFill>
                  <a:schemeClr val="tx1"/>
                </a:solidFill>
                <a:latin typeface="+mn-lt"/>
                <a:ea typeface="+mn-ea"/>
                <a:cs typeface="+mn-cs"/>
                <a:sym typeface="+mn-lt"/>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6521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91255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27458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4142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12" name="テキスト プレースホルダ 5"/>
          <p:cNvSpPr>
            <a:spLocks noGrp="1"/>
          </p:cNvSpPr>
          <p:nvPr>
            <p:ph type="body" sz="quarter" idx="15"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8"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8" name="テキスト プレースホルダー 2"/>
          <p:cNvSpPr>
            <a:spLocks noGrp="1"/>
          </p:cNvSpPr>
          <p:nvPr>
            <p:ph type="body" sz="quarter" idx="19" hasCustomPrompt="1"/>
          </p:nvPr>
        </p:nvSpPr>
        <p:spPr bwMode="gray">
          <a:xfrm>
            <a:off x="5132388"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998751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7596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 5"/>
          <p:cNvSpPr>
            <a:spLocks noGrp="1"/>
          </p:cNvSpPr>
          <p:nvPr>
            <p:ph type="body" sz="quarter" idx="14"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vl5pPr marL="504000" indent="0">
              <a:buNone/>
              <a:defRPr/>
            </a:lvl5pPr>
          </a:lstStyle>
          <a:p>
            <a:pPr lvl="0"/>
            <a:r>
              <a:rPr lang="ja-JP" altLang="en-US"/>
              <a:t>マスター テキストの書式設定</a:t>
            </a:r>
            <a:endParaRPr lang="en-US" altLang="ja-JP"/>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endParaRPr lang="en-US" altLang="ja-JP"/>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248587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7061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5402676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329153851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7934385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7000" y="180000"/>
            <a:ext cx="9072000"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16496" y="684000"/>
            <a:ext cx="9072000"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0.xml"/><Relationship Id="rId7" Type="http://schemas.openxmlformats.org/officeDocument/2006/relationships/tags" Target="../tags/tag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2.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9"/>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0" imgW="563" imgH="564" progId="TCLayout.ActiveDocument.1">
                  <p:embed/>
                </p:oleObj>
              </mc:Choice>
              <mc:Fallback>
                <p:oleObj name="think-cell スライド" r:id="rId20" imgW="563" imgH="564" progId="TCLayout.ActiveDocument.1">
                  <p:embed/>
                  <p:pic>
                    <p:nvPicPr>
                      <p:cNvPr id="4" name="オブジェクト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 id="2147483959" r:id="rId17"/>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26886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63" imgH="564" progId="TCLayout.ActiveDocument.1">
                  <p:embed/>
                </p:oleObj>
              </mc:Choice>
              <mc:Fallback>
                <p:oleObj name="think-cell スライド" r:id="rId8" imgW="563" imgH="564" progId="TCLayout.ActiveDocument.1">
                  <p:embed/>
                  <p:pic>
                    <p:nvPicPr>
                      <p:cNvPr id="4" name="オブジェクト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41" r:id="rId2"/>
    <p:sldLayoutId id="2147483949" r:id="rId3"/>
    <p:sldLayoutId id="2147483950" r:id="rId4"/>
    <p:sldLayoutId id="2147483958" r:id="rId5"/>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BE02AF6-86EA-A36B-AB9A-92CC1F04388A}"/>
              </a:ext>
            </a:extLst>
          </p:cNvPr>
          <p:cNvSpPr txBox="1"/>
          <p:nvPr/>
        </p:nvSpPr>
        <p:spPr>
          <a:xfrm>
            <a:off x="0" y="1449885"/>
            <a:ext cx="9906000" cy="984885"/>
          </a:xfrm>
          <a:prstGeom prst="rect">
            <a:avLst/>
          </a:prstGeom>
          <a:solidFill>
            <a:srgbClr val="4472C4">
              <a:lumMod val="75000"/>
            </a:srgbClr>
          </a:solid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18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4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様式集</a:t>
            </a:r>
            <a:endParaRPr kumimoji="1" lang="ja-JP" altLang="en-US" sz="18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a:extLst>
              <a:ext uri="{FF2B5EF4-FFF2-40B4-BE49-F238E27FC236}">
                <a16:creationId xmlns:a16="http://schemas.microsoft.com/office/drawing/2014/main" id="{6643E9CD-8ECB-B816-6C11-54A4BAF2E54F}"/>
              </a:ext>
            </a:extLst>
          </p:cNvPr>
          <p:cNvSpPr txBox="1"/>
          <p:nvPr/>
        </p:nvSpPr>
        <p:spPr bwMode="gray">
          <a:xfrm>
            <a:off x="2319266" y="3962400"/>
            <a:ext cx="5329985" cy="696473"/>
          </a:xfrm>
          <a:prstGeom prst="rect">
            <a:avLst/>
          </a:prstGeom>
          <a:noFill/>
        </p:spPr>
        <p:txBody>
          <a:bodyPr wrap="none" lIns="0" tIns="0" rIns="0" bIns="0" rtlCol="0">
            <a:spAutoFit/>
          </a:bodyPr>
          <a:lstStyle/>
          <a:p>
            <a:pPr marL="0" marR="0" indent="0" algn="l" defTabSz="990564" rtl="0" eaLnBrk="1" fontAlgn="auto" latinLnBrk="0" hangingPunct="1">
              <a:lnSpc>
                <a:spcPct val="150000"/>
              </a:lnSpc>
              <a:spcBef>
                <a:spcPts val="0"/>
              </a:spcBef>
              <a:spcAft>
                <a:spcPts val="0"/>
              </a:spcAft>
              <a:buClrTx/>
              <a:buSzPct val="100000"/>
              <a:buFont typeface="Wingdings" panose="05000000000000000000" pitchFamily="2" charset="2"/>
              <a:buNone/>
              <a:tabLst/>
            </a:pPr>
            <a:r>
              <a:rPr kumimoji="1" lang="en-US" altLang="ja-JP" sz="1600" b="1" i="0" u="none" strike="noStrike" kern="1200" cap="none" spc="0" normalizeH="0" baseline="0" noProof="0" dirty="0">
                <a:ln>
                  <a:noFill/>
                </a:ln>
                <a:solidFill>
                  <a:srgbClr val="C00000"/>
                </a:solidFill>
                <a:effectLst/>
                <a:uLnTx/>
                <a:uFillTx/>
                <a:latin typeface="+mn-lt"/>
                <a:ea typeface="+mn-ea"/>
                <a:cs typeface="+mn-cs"/>
              </a:rPr>
              <a:t>※</a:t>
            </a:r>
            <a:r>
              <a:rPr kumimoji="1" lang="ja-JP" altLang="en-US" sz="1600" b="1" i="0" u="none" strike="noStrike" kern="1200" cap="none" spc="0" normalizeH="0" baseline="0" noProof="0" dirty="0">
                <a:ln>
                  <a:noFill/>
                </a:ln>
                <a:solidFill>
                  <a:srgbClr val="C00000"/>
                </a:solidFill>
                <a:effectLst/>
                <a:uLnTx/>
                <a:uFillTx/>
                <a:latin typeface="+mn-lt"/>
                <a:ea typeface="+mn-ea"/>
                <a:cs typeface="+mn-cs"/>
              </a:rPr>
              <a:t>原則として様式の改変は行わず、本様式によりご提出ください。</a:t>
            </a:r>
            <a:endParaRPr kumimoji="1" lang="en-US" altLang="ja-JP" sz="1600" b="1" i="0" u="none" strike="noStrike" kern="1200" cap="none" spc="0" normalizeH="0" baseline="0" noProof="0" dirty="0">
              <a:ln>
                <a:noFill/>
              </a:ln>
              <a:solidFill>
                <a:srgbClr val="C00000"/>
              </a:solidFill>
              <a:effectLst/>
              <a:uLnTx/>
              <a:uFillTx/>
              <a:latin typeface="+mn-lt"/>
              <a:ea typeface="+mn-ea"/>
              <a:cs typeface="+mn-cs"/>
            </a:endParaRPr>
          </a:p>
          <a:p>
            <a:pPr marL="0" marR="0" indent="0" algn="l" defTabSz="990564" rtl="0" eaLnBrk="1" fontAlgn="auto" latinLnBrk="0" hangingPunct="1">
              <a:lnSpc>
                <a:spcPct val="150000"/>
              </a:lnSpc>
              <a:spcBef>
                <a:spcPts val="0"/>
              </a:spcBef>
              <a:spcAft>
                <a:spcPts val="0"/>
              </a:spcAft>
              <a:buClrTx/>
              <a:buSzPct val="100000"/>
              <a:buFont typeface="Wingdings" panose="05000000000000000000" pitchFamily="2" charset="2"/>
              <a:buNone/>
              <a:tabLst/>
            </a:pPr>
            <a:r>
              <a:rPr kumimoji="1" lang="en-US" altLang="ja-JP" sz="1600" b="1" dirty="0">
                <a:solidFill>
                  <a:srgbClr val="C00000"/>
                </a:solidFill>
                <a:latin typeface="+mn-lt"/>
                <a:cs typeface="+mn-cs"/>
              </a:rPr>
              <a:t>※</a:t>
            </a:r>
            <a:r>
              <a:rPr kumimoji="1" lang="ja-JP" altLang="en-US" sz="1600" b="1" dirty="0">
                <a:solidFill>
                  <a:srgbClr val="C00000"/>
                </a:solidFill>
                <a:latin typeface="+mn-lt"/>
                <a:cs typeface="+mn-cs"/>
              </a:rPr>
              <a:t>各様式の注記および記載例をご確認いただき作成ください。</a:t>
            </a:r>
            <a:endParaRPr kumimoji="1" lang="en-US" altLang="ja-JP" sz="1600" b="1" i="0" u="none" strike="noStrike" kern="1200" cap="none" spc="0" normalizeH="0" baseline="0" noProof="0" dirty="0">
              <a:ln>
                <a:noFill/>
              </a:ln>
              <a:solidFill>
                <a:srgbClr val="C00000"/>
              </a:solidFill>
              <a:effectLst/>
              <a:uLnTx/>
              <a:uFillTx/>
              <a:latin typeface="+mn-lt"/>
              <a:ea typeface="+mn-ea"/>
              <a:cs typeface="+mn-cs"/>
            </a:endParaRPr>
          </a:p>
        </p:txBody>
      </p:sp>
    </p:spTree>
    <p:extLst>
      <p:ext uri="{BB962C8B-B14F-4D97-AF65-F5344CB8AC3E}">
        <p14:creationId xmlns:p14="http://schemas.microsoft.com/office/powerpoint/2010/main" val="1174244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436913-DDCD-4420-924B-DB039CFE5886}"/>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a:p>
        </p:txBody>
      </p:sp>
      <p:sp>
        <p:nvSpPr>
          <p:cNvPr id="4" name="テキスト ボックス 3">
            <a:extLst>
              <a:ext uri="{FF2B5EF4-FFF2-40B4-BE49-F238E27FC236}">
                <a16:creationId xmlns:a16="http://schemas.microsoft.com/office/drawing/2014/main" id="{2EA7B675-4EF3-F78C-D520-5B7849CE4D3D}"/>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２．実施体制③</a:t>
            </a:r>
          </a:p>
        </p:txBody>
      </p:sp>
      <p:sp>
        <p:nvSpPr>
          <p:cNvPr id="3" name="正方形/長方形 2">
            <a:extLst>
              <a:ext uri="{FF2B5EF4-FFF2-40B4-BE49-F238E27FC236}">
                <a16:creationId xmlns:a16="http://schemas.microsoft.com/office/drawing/2014/main" id="{2A8EC30D-6384-13FC-9BE1-B71A64C29208}"/>
              </a:ext>
            </a:extLst>
          </p:cNvPr>
          <p:cNvSpPr/>
          <p:nvPr/>
        </p:nvSpPr>
        <p:spPr>
          <a:xfrm>
            <a:off x="415925" y="591104"/>
            <a:ext cx="8964283" cy="271365"/>
          </a:xfrm>
          <a:prstGeom prst="rect">
            <a:avLst/>
          </a:prstGeom>
          <a:solidFill>
            <a:schemeClr val="tx1"/>
          </a:solidFill>
          <a:ln w="1905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kern="0" dirty="0">
                <a:solidFill>
                  <a:prstClr val="white"/>
                </a:solidFill>
                <a:latin typeface="+mn-ea"/>
                <a:cs typeface="+mn-cs"/>
              </a:rPr>
              <a:t>事業・取組・業務実績</a:t>
            </a:r>
            <a:endParaRPr kumimoji="1" lang="ja-JP" altLang="en-US" sz="1200" b="1" i="0" u="none" strike="noStrike" kern="0" cap="none" spc="0" normalizeH="0" baseline="0" noProof="0" dirty="0">
              <a:ln>
                <a:noFill/>
              </a:ln>
              <a:solidFill>
                <a:prstClr val="white"/>
              </a:solidFill>
              <a:effectLst/>
              <a:uLnTx/>
              <a:uFillTx/>
              <a:latin typeface="+mn-ea"/>
              <a:cs typeface="+mn-cs"/>
            </a:endParaRPr>
          </a:p>
        </p:txBody>
      </p:sp>
      <p:graphicFrame>
        <p:nvGraphicFramePr>
          <p:cNvPr id="5" name="表 4">
            <a:extLst>
              <a:ext uri="{FF2B5EF4-FFF2-40B4-BE49-F238E27FC236}">
                <a16:creationId xmlns:a16="http://schemas.microsoft.com/office/drawing/2014/main" id="{429677DE-F9BC-E561-84F3-A8125C21C8E3}"/>
              </a:ext>
            </a:extLst>
          </p:cNvPr>
          <p:cNvGraphicFramePr>
            <a:graphicFrameLocks noGrp="1"/>
          </p:cNvGraphicFramePr>
          <p:nvPr>
            <p:extLst>
              <p:ext uri="{D42A27DB-BD31-4B8C-83A1-F6EECF244321}">
                <p14:modId xmlns:p14="http://schemas.microsoft.com/office/powerpoint/2010/main" val="2246626680"/>
              </p:ext>
            </p:extLst>
          </p:nvPr>
        </p:nvGraphicFramePr>
        <p:xfrm>
          <a:off x="415924" y="1190082"/>
          <a:ext cx="8964283" cy="2338720"/>
        </p:xfrm>
        <a:graphic>
          <a:graphicData uri="http://schemas.openxmlformats.org/drawingml/2006/table">
            <a:tbl>
              <a:tblPr firstRow="1" firstCol="1" bandRow="1">
                <a:tableStyleId>{5940675A-B579-460E-94D1-54222C63F5DA}</a:tableStyleId>
              </a:tblPr>
              <a:tblGrid>
                <a:gridCol w="1346973">
                  <a:extLst>
                    <a:ext uri="{9D8B030D-6E8A-4147-A177-3AD203B41FA5}">
                      <a16:colId xmlns:a16="http://schemas.microsoft.com/office/drawing/2014/main" val="542284651"/>
                    </a:ext>
                  </a:extLst>
                </a:gridCol>
                <a:gridCol w="2273831">
                  <a:extLst>
                    <a:ext uri="{9D8B030D-6E8A-4147-A177-3AD203B41FA5}">
                      <a16:colId xmlns:a16="http://schemas.microsoft.com/office/drawing/2014/main" val="4197243662"/>
                    </a:ext>
                  </a:extLst>
                </a:gridCol>
                <a:gridCol w="5343479">
                  <a:extLst>
                    <a:ext uri="{9D8B030D-6E8A-4147-A177-3AD203B41FA5}">
                      <a16:colId xmlns:a16="http://schemas.microsoft.com/office/drawing/2014/main" val="1937005760"/>
                    </a:ext>
                  </a:extLst>
                </a:gridCol>
              </a:tblGrid>
              <a:tr h="232837">
                <a:tc>
                  <a:txBody>
                    <a:bodyPr/>
                    <a:lstStyle/>
                    <a:p>
                      <a:pPr marL="0" algn="ctr" defTabSz="990564" rtl="0" eaLnBrk="1" latinLnBrk="0" hangingPunct="1"/>
                      <a:r>
                        <a:rPr kumimoji="1" lang="ja-JP" altLang="en-US" sz="1050" kern="100" dirty="0">
                          <a:solidFill>
                            <a:schemeClr val="bg1"/>
                          </a:solidFill>
                          <a:effectLst/>
                          <a:latin typeface="+mn-lt"/>
                          <a:ea typeface="+mn-ea"/>
                          <a:cs typeface="+mn-cs"/>
                        </a:rPr>
                        <a:t>実績を有する団体名</a:t>
                      </a: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ja-JP" altLang="en-US" sz="1050" kern="100" dirty="0">
                          <a:solidFill>
                            <a:schemeClr val="bg1"/>
                          </a:solidFill>
                          <a:effectLst/>
                        </a:rPr>
                        <a:t>事業名・取組名・</a:t>
                      </a:r>
                      <a:r>
                        <a:rPr lang="ja-JP" sz="1050" kern="100" dirty="0">
                          <a:solidFill>
                            <a:schemeClr val="bg1"/>
                          </a:solidFill>
                          <a:effectLst/>
                        </a:rPr>
                        <a:t>業務名</a:t>
                      </a:r>
                      <a:r>
                        <a:rPr lang="ja-JP" altLang="en-US" sz="1050" kern="100" dirty="0">
                          <a:solidFill>
                            <a:schemeClr val="bg1"/>
                          </a:solidFill>
                          <a:effectLst/>
                        </a:rPr>
                        <a:t>等</a:t>
                      </a:r>
                      <a:endParaRPr lang="ja-JP" sz="1050" kern="100" dirty="0">
                        <a:solidFill>
                          <a:schemeClr val="bg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ja-JP" altLang="en-US" sz="1050" kern="100">
                          <a:solidFill>
                            <a:schemeClr val="bg1"/>
                          </a:solidFill>
                          <a:effectLst/>
                        </a:rPr>
                        <a:t>取組実績の</a:t>
                      </a:r>
                      <a:r>
                        <a:rPr lang="ja-JP" sz="1050" kern="100">
                          <a:solidFill>
                            <a:schemeClr val="bg1"/>
                          </a:solidFill>
                          <a:effectLst/>
                        </a:rPr>
                        <a:t>概要</a:t>
                      </a:r>
                      <a:endParaRPr lang="ja-JP" sz="1050" kern="100">
                        <a:solidFill>
                          <a:schemeClr val="bg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3536240685"/>
                  </a:ext>
                </a:extLst>
              </a:tr>
              <a:tr h="701961">
                <a:tc>
                  <a:txBody>
                    <a:bodyPr/>
                    <a:lstStyle/>
                    <a:p>
                      <a:pPr marL="0" algn="ctr" defTabSz="990564" rtl="0" eaLnBrk="1" latinLnBrk="0" hangingPunct="1"/>
                      <a:endParaRPr kumimoji="1" lang="ja-JP" altLang="en-US" sz="1050" kern="100" dirty="0">
                        <a:solidFill>
                          <a:schemeClr val="tx1"/>
                        </a:solidFill>
                        <a:effectLst/>
                        <a:latin typeface="+mn-ea"/>
                        <a:ea typeface="+mn-ea"/>
                        <a:cs typeface="+mn-cs"/>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ja-JP" sz="1050" kern="100" dirty="0">
                        <a:solidFill>
                          <a:schemeClr val="tx1"/>
                        </a:solidFill>
                        <a:effectLst/>
                        <a:latin typeface="+mn-ea"/>
                        <a:ea typeface="+mn-ea"/>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just" defTabSz="990564" rtl="0" eaLnBrk="1" fontAlgn="auto" latinLnBrk="0" hangingPunct="1">
                        <a:lnSpc>
                          <a:spcPct val="100000"/>
                        </a:lnSpc>
                        <a:spcBef>
                          <a:spcPts val="0"/>
                        </a:spcBef>
                        <a:spcAft>
                          <a:spcPts val="0"/>
                        </a:spcAft>
                        <a:buClrTx/>
                        <a:buSzTx/>
                        <a:buFontTx/>
                        <a:buNone/>
                        <a:tabLst/>
                        <a:defRPr/>
                      </a:pPr>
                      <a:r>
                        <a:rPr lang="en-US" altLang="ja-JP" sz="1050" kern="100" dirty="0">
                          <a:solidFill>
                            <a:schemeClr val="tx1"/>
                          </a:solidFill>
                          <a:effectLst/>
                          <a:latin typeface="+mn-ea"/>
                          <a:ea typeface="+mn-ea"/>
                          <a:cs typeface="Times New Roman" panose="02020603050405020304" pitchFamily="18" charset="0"/>
                        </a:rPr>
                        <a:t>※</a:t>
                      </a:r>
                      <a:r>
                        <a:rPr lang="ja-JP" altLang="en-US" sz="1050" kern="100" dirty="0">
                          <a:solidFill>
                            <a:schemeClr val="tx1"/>
                          </a:solidFill>
                          <a:effectLst/>
                          <a:latin typeface="+mn-ea"/>
                          <a:ea typeface="+mn-ea"/>
                          <a:cs typeface="Times New Roman" panose="02020603050405020304" pitchFamily="18" charset="0"/>
                        </a:rPr>
                        <a:t>取組</a:t>
                      </a:r>
                      <a:r>
                        <a:rPr kumimoji="1" lang="ja-JP" altLang="en-US" sz="1050" dirty="0">
                          <a:solidFill>
                            <a:schemeClr val="tx1"/>
                          </a:solidFill>
                          <a:latin typeface="+mn-ea"/>
                          <a:ea typeface="+mn-ea"/>
                          <a:cs typeface="+mn-cs"/>
                        </a:rPr>
                        <a:t>内容、実証・実装の相手方、取組対象エリア、実証・実装規模、実証実装の時期・期間等をご記入ください。</a:t>
                      </a:r>
                      <a:endParaRPr kumimoji="1" lang="en-US" altLang="ja-JP" sz="1050" b="0" i="0" u="none" strike="noStrike" kern="1200" cap="none" spc="0" normalizeH="0" baseline="0" noProof="0" dirty="0">
                        <a:ln>
                          <a:noFill/>
                        </a:ln>
                        <a:solidFill>
                          <a:schemeClr val="tx1"/>
                        </a:solidFill>
                        <a:effectLst/>
                        <a:uLnTx/>
                        <a:uFillTx/>
                        <a:latin typeface="+mn-ea"/>
                        <a:ea typeface="+mn-ea"/>
                        <a:cs typeface="+mn-cs"/>
                      </a:endParaRPr>
                    </a:p>
                    <a:p>
                      <a:pPr algn="just"/>
                      <a:endParaRPr lang="ja-JP" sz="1050" kern="100" dirty="0">
                        <a:solidFill>
                          <a:schemeClr val="tx1"/>
                        </a:solidFill>
                        <a:effectLst/>
                        <a:latin typeface="+mn-ea"/>
                        <a:ea typeface="+mn-ea"/>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1950497"/>
                  </a:ext>
                </a:extLst>
              </a:tr>
              <a:tr h="701961">
                <a:tc>
                  <a:txBody>
                    <a:bodyPr/>
                    <a:lstStyle/>
                    <a:p>
                      <a:pPr marL="0" algn="ctr" defTabSz="990564" rtl="0" eaLnBrk="1" latinLnBrk="0" hangingPunct="1"/>
                      <a:endParaRPr kumimoji="1" lang="ja-JP" altLang="en-US" sz="1050" kern="100" dirty="0">
                        <a:solidFill>
                          <a:schemeClr val="tx1"/>
                        </a:solidFill>
                        <a:effectLst/>
                        <a:latin typeface="+mn-ea"/>
                        <a:ea typeface="+mn-ea"/>
                        <a:cs typeface="+mn-cs"/>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ja-JP" sz="1050" kern="100" dirty="0">
                        <a:solidFill>
                          <a:schemeClr val="tx1"/>
                        </a:solidFill>
                        <a:effectLst/>
                        <a:latin typeface="+mn-ea"/>
                        <a:ea typeface="+mn-ea"/>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just"/>
                      <a:r>
                        <a:rPr lang="en-US" sz="1050" kern="100" dirty="0">
                          <a:solidFill>
                            <a:schemeClr val="tx1"/>
                          </a:solidFill>
                          <a:effectLst/>
                          <a:latin typeface="+mn-ea"/>
                          <a:ea typeface="+mn-ea"/>
                        </a:rPr>
                        <a:t> </a:t>
                      </a:r>
                      <a:endParaRPr lang="ja-JP" sz="1050" kern="100" dirty="0">
                        <a:solidFill>
                          <a:schemeClr val="tx1"/>
                        </a:solidFill>
                        <a:effectLst/>
                        <a:latin typeface="+mn-ea"/>
                        <a:ea typeface="+mn-ea"/>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4036963"/>
                  </a:ext>
                </a:extLst>
              </a:tr>
              <a:tr h="701961">
                <a:tc>
                  <a:txBody>
                    <a:bodyPr/>
                    <a:lstStyle/>
                    <a:p>
                      <a:pPr marL="0" algn="ctr" defTabSz="990564" rtl="0" eaLnBrk="1" latinLnBrk="0" hangingPunct="1"/>
                      <a:endParaRPr kumimoji="1" lang="ja-JP" altLang="en-US" sz="1050" kern="100" dirty="0">
                        <a:solidFill>
                          <a:schemeClr val="tx1"/>
                        </a:solidFill>
                        <a:effectLst/>
                        <a:latin typeface="+mn-ea"/>
                        <a:ea typeface="+mn-ea"/>
                        <a:cs typeface="+mn-cs"/>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ja-JP" sz="1050" kern="100" dirty="0">
                        <a:solidFill>
                          <a:schemeClr val="tx1"/>
                        </a:solidFill>
                        <a:effectLst/>
                        <a:latin typeface="+mn-ea"/>
                        <a:ea typeface="+mn-ea"/>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just"/>
                      <a:r>
                        <a:rPr lang="en-US" sz="1050" kern="100" dirty="0">
                          <a:solidFill>
                            <a:schemeClr val="tx1"/>
                          </a:solidFill>
                          <a:effectLst/>
                          <a:latin typeface="+mn-ea"/>
                          <a:ea typeface="+mn-ea"/>
                        </a:rPr>
                        <a:t> </a:t>
                      </a:r>
                      <a:endParaRPr lang="ja-JP" sz="1050" kern="100" dirty="0">
                        <a:solidFill>
                          <a:schemeClr val="tx1"/>
                        </a:solidFill>
                        <a:effectLst/>
                        <a:latin typeface="+mn-ea"/>
                        <a:ea typeface="+mn-ea"/>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16875810"/>
                  </a:ext>
                </a:extLst>
              </a:tr>
            </a:tbl>
          </a:graphicData>
        </a:graphic>
      </p:graphicFrame>
      <p:sp>
        <p:nvSpPr>
          <p:cNvPr id="6" name="正方形/長方形 5">
            <a:extLst>
              <a:ext uri="{FF2B5EF4-FFF2-40B4-BE49-F238E27FC236}">
                <a16:creationId xmlns:a16="http://schemas.microsoft.com/office/drawing/2014/main" id="{B2D84371-4555-5740-9BD6-32FA507F2FD7}"/>
              </a:ext>
            </a:extLst>
          </p:cNvPr>
          <p:cNvSpPr/>
          <p:nvPr/>
        </p:nvSpPr>
        <p:spPr bwMode="gray">
          <a:xfrm>
            <a:off x="415923" y="6140741"/>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srgbClr val="C00000"/>
                </a:solidFill>
                <a:effectLst/>
                <a:uLnTx/>
                <a:uFillTx/>
                <a:latin typeface="+mn-ea"/>
                <a:cs typeface="+mn-cs"/>
              </a:rPr>
              <a:t>※</a:t>
            </a:r>
            <a:r>
              <a:rPr kumimoji="1" lang="ja-JP" altLang="en-US" sz="1050" b="0" i="0" u="none" strike="noStrike" kern="1200" cap="none" spc="0" normalizeH="0" baseline="0" noProof="0" dirty="0">
                <a:ln>
                  <a:noFill/>
                </a:ln>
                <a:solidFill>
                  <a:srgbClr val="C00000"/>
                </a:solidFill>
                <a:effectLst/>
                <a:uLnTx/>
                <a:uFillTx/>
                <a:latin typeface="+mn-ea"/>
                <a:cs typeface="+mn-cs"/>
              </a:rPr>
              <a:t>実施体制に記載いただく代表団体・構成団体の有する実績をご記入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dirty="0">
                <a:solidFill>
                  <a:srgbClr val="C00000"/>
                </a:solidFill>
                <a:latin typeface="+mn-ea"/>
                <a:cs typeface="+mn-cs"/>
              </a:rPr>
              <a:t>※</a:t>
            </a:r>
            <a:r>
              <a:rPr kumimoji="1" lang="ja-JP" altLang="en-US" sz="1050" b="0" i="0" u="none" strike="noStrike" kern="1200" cap="none" spc="0" normalizeH="0" baseline="0" noProof="0" dirty="0">
                <a:ln>
                  <a:noFill/>
                </a:ln>
                <a:solidFill>
                  <a:srgbClr val="C00000"/>
                </a:solidFill>
                <a:effectLst/>
                <a:uLnTx/>
                <a:uFillTx/>
                <a:latin typeface="+mn-ea"/>
                <a:cs typeface="+mn-cs"/>
              </a:rPr>
              <a:t>欄が不足する場合は、適宜行を追加しご記入ください。ただし、箇条書にて示す実績は</a:t>
            </a:r>
            <a:r>
              <a:rPr kumimoji="1" lang="en-US" altLang="ja-JP" sz="1050" b="0" i="0" u="none" strike="noStrike" kern="1200" cap="none" spc="0" normalizeH="0" baseline="0" noProof="0" dirty="0">
                <a:ln>
                  <a:noFill/>
                </a:ln>
                <a:solidFill>
                  <a:srgbClr val="C00000"/>
                </a:solidFill>
                <a:effectLst/>
                <a:uLnTx/>
                <a:uFillTx/>
                <a:latin typeface="+mn-ea"/>
                <a:cs typeface="+mn-cs"/>
              </a:rPr>
              <a:t>1</a:t>
            </a:r>
            <a:r>
              <a:rPr kumimoji="1" lang="ja-JP" altLang="en-US" sz="1050" b="0" i="0" u="none" strike="noStrike" kern="1200" cap="none" spc="0" normalizeH="0" baseline="0" noProof="0" dirty="0">
                <a:ln>
                  <a:noFill/>
                </a:ln>
                <a:solidFill>
                  <a:srgbClr val="C00000"/>
                </a:solidFill>
                <a:effectLst/>
                <a:uLnTx/>
                <a:uFillTx/>
                <a:latin typeface="+mn-ea"/>
                <a:cs typeface="+mn-cs"/>
              </a:rPr>
              <a:t>枚以内とします。</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graphicFrame>
        <p:nvGraphicFramePr>
          <p:cNvPr id="13" name="表 12">
            <a:extLst>
              <a:ext uri="{FF2B5EF4-FFF2-40B4-BE49-F238E27FC236}">
                <a16:creationId xmlns:a16="http://schemas.microsoft.com/office/drawing/2014/main" id="{0B167E6B-57D4-95F7-E939-82A70F4DA39C}"/>
              </a:ext>
            </a:extLst>
          </p:cNvPr>
          <p:cNvGraphicFramePr>
            <a:graphicFrameLocks noGrp="1"/>
          </p:cNvGraphicFramePr>
          <p:nvPr>
            <p:extLst>
              <p:ext uri="{D42A27DB-BD31-4B8C-83A1-F6EECF244321}">
                <p14:modId xmlns:p14="http://schemas.microsoft.com/office/powerpoint/2010/main" val="523732850"/>
              </p:ext>
            </p:extLst>
          </p:nvPr>
        </p:nvGraphicFramePr>
        <p:xfrm>
          <a:off x="415923" y="3915967"/>
          <a:ext cx="8964283" cy="2059311"/>
        </p:xfrm>
        <a:graphic>
          <a:graphicData uri="http://schemas.openxmlformats.org/drawingml/2006/table">
            <a:tbl>
              <a:tblPr firstRow="1" firstCol="1" bandRow="1">
                <a:tableStyleId>{5940675A-B579-460E-94D1-54222C63F5DA}</a:tableStyleId>
              </a:tblPr>
              <a:tblGrid>
                <a:gridCol w="1363450">
                  <a:extLst>
                    <a:ext uri="{9D8B030D-6E8A-4147-A177-3AD203B41FA5}">
                      <a16:colId xmlns:a16="http://schemas.microsoft.com/office/drawing/2014/main" val="1727301654"/>
                    </a:ext>
                  </a:extLst>
                </a:gridCol>
                <a:gridCol w="2246662">
                  <a:extLst>
                    <a:ext uri="{9D8B030D-6E8A-4147-A177-3AD203B41FA5}">
                      <a16:colId xmlns:a16="http://schemas.microsoft.com/office/drawing/2014/main" val="4197243662"/>
                    </a:ext>
                  </a:extLst>
                </a:gridCol>
                <a:gridCol w="5354171">
                  <a:extLst>
                    <a:ext uri="{9D8B030D-6E8A-4147-A177-3AD203B41FA5}">
                      <a16:colId xmlns:a16="http://schemas.microsoft.com/office/drawing/2014/main" val="1937005760"/>
                    </a:ext>
                  </a:extLst>
                </a:gridCol>
              </a:tblGrid>
              <a:tr h="20502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050" kern="100" dirty="0">
                          <a:solidFill>
                            <a:schemeClr val="bg1"/>
                          </a:solidFill>
                          <a:effectLst/>
                          <a:latin typeface="+mn-ea"/>
                          <a:ea typeface="+mn-ea"/>
                          <a:cs typeface="+mn-cs"/>
                        </a:rPr>
                        <a:t>実績を有する団体名</a:t>
                      </a: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ja-JP" altLang="en-US" sz="1050" kern="100" dirty="0">
                          <a:solidFill>
                            <a:schemeClr val="bg1"/>
                          </a:solidFill>
                          <a:effectLst/>
                          <a:latin typeface="+mn-ea"/>
                          <a:ea typeface="+mn-ea"/>
                        </a:rPr>
                        <a:t>事業名・取組名・</a:t>
                      </a:r>
                      <a:r>
                        <a:rPr lang="ja-JP" sz="1050" kern="100" dirty="0">
                          <a:solidFill>
                            <a:schemeClr val="bg1"/>
                          </a:solidFill>
                          <a:effectLst/>
                          <a:latin typeface="+mn-ea"/>
                          <a:ea typeface="+mn-ea"/>
                        </a:rPr>
                        <a:t>業務名</a:t>
                      </a:r>
                      <a:r>
                        <a:rPr lang="ja-JP" altLang="en-US" sz="1050" kern="100" dirty="0">
                          <a:solidFill>
                            <a:schemeClr val="bg1"/>
                          </a:solidFill>
                          <a:effectLst/>
                          <a:latin typeface="+mn-ea"/>
                          <a:ea typeface="+mn-ea"/>
                        </a:rPr>
                        <a:t>等</a:t>
                      </a:r>
                      <a:endParaRPr lang="ja-JP" sz="1050" kern="100" dirty="0">
                        <a:solidFill>
                          <a:schemeClr val="bg1"/>
                        </a:solidFill>
                        <a:effectLst/>
                        <a:latin typeface="+mn-ea"/>
                        <a:ea typeface="+mn-ea"/>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ja-JP" altLang="en-US" sz="1050" kern="100">
                          <a:solidFill>
                            <a:schemeClr val="bg1"/>
                          </a:solidFill>
                          <a:effectLst/>
                          <a:latin typeface="+mn-ea"/>
                          <a:ea typeface="+mn-ea"/>
                        </a:rPr>
                        <a:t>取組実績の</a:t>
                      </a:r>
                      <a:r>
                        <a:rPr lang="ja-JP" sz="1050" kern="100">
                          <a:solidFill>
                            <a:schemeClr val="bg1"/>
                          </a:solidFill>
                          <a:effectLst/>
                          <a:latin typeface="+mn-ea"/>
                          <a:ea typeface="+mn-ea"/>
                        </a:rPr>
                        <a:t>概要</a:t>
                      </a:r>
                      <a:endParaRPr lang="ja-JP" sz="1050" kern="100">
                        <a:solidFill>
                          <a:schemeClr val="bg1"/>
                        </a:solidFill>
                        <a:effectLst/>
                        <a:latin typeface="+mn-ea"/>
                        <a:ea typeface="+mn-ea"/>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3536240685"/>
                  </a:ext>
                </a:extLst>
              </a:tr>
              <a:tr h="618097">
                <a:tc>
                  <a:txBody>
                    <a:bodyPr/>
                    <a:lstStyle/>
                    <a:p>
                      <a:pPr marL="0" algn="ctr" defTabSz="990564" rtl="0" eaLnBrk="1" latinLnBrk="0" hangingPunct="1"/>
                      <a:endParaRPr kumimoji="1" lang="ja-JP" altLang="en-US" sz="1050" kern="100" dirty="0">
                        <a:solidFill>
                          <a:schemeClr val="tx1"/>
                        </a:solidFill>
                        <a:effectLst/>
                        <a:latin typeface="+mn-ea"/>
                        <a:ea typeface="+mn-ea"/>
                        <a:cs typeface="+mn-cs"/>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ja-JP" sz="1050" kern="100" dirty="0">
                        <a:solidFill>
                          <a:schemeClr val="tx1"/>
                        </a:solidFill>
                        <a:effectLst/>
                        <a:latin typeface="+mn-ea"/>
                        <a:ea typeface="+mn-ea"/>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just" defTabSz="990564" rtl="0" eaLnBrk="1" fontAlgn="auto" latinLnBrk="0" hangingPunct="1">
                        <a:lnSpc>
                          <a:spcPct val="100000"/>
                        </a:lnSpc>
                        <a:spcBef>
                          <a:spcPts val="0"/>
                        </a:spcBef>
                        <a:spcAft>
                          <a:spcPts val="0"/>
                        </a:spcAft>
                        <a:buClrTx/>
                        <a:buSzTx/>
                        <a:buFontTx/>
                        <a:buNone/>
                        <a:tabLst/>
                        <a:defRPr/>
                      </a:pPr>
                      <a:r>
                        <a:rPr lang="en-US" altLang="ja-JP" sz="1050" kern="100" dirty="0">
                          <a:solidFill>
                            <a:schemeClr val="tx1"/>
                          </a:solidFill>
                          <a:effectLst/>
                          <a:latin typeface="+mn-ea"/>
                          <a:ea typeface="+mn-ea"/>
                          <a:cs typeface="Times New Roman" panose="02020603050405020304" pitchFamily="18" charset="0"/>
                        </a:rPr>
                        <a:t>※</a:t>
                      </a:r>
                      <a:r>
                        <a:rPr lang="ja-JP" altLang="en-US" sz="1050" kern="100" dirty="0">
                          <a:solidFill>
                            <a:schemeClr val="tx1"/>
                          </a:solidFill>
                          <a:effectLst/>
                          <a:latin typeface="+mn-ea"/>
                          <a:ea typeface="+mn-ea"/>
                          <a:cs typeface="Times New Roman" panose="02020603050405020304" pitchFamily="18" charset="0"/>
                        </a:rPr>
                        <a:t>取組</a:t>
                      </a:r>
                      <a:r>
                        <a:rPr kumimoji="1" lang="ja-JP" altLang="en-US" sz="1050" dirty="0">
                          <a:solidFill>
                            <a:schemeClr val="tx1"/>
                          </a:solidFill>
                          <a:latin typeface="+mn-ea"/>
                          <a:ea typeface="+mn-ea"/>
                          <a:cs typeface="+mn-cs"/>
                        </a:rPr>
                        <a:t>内容、取組対象エリア、取組の時期・期間・連携している自治体や事業者等をご記入ください。</a:t>
                      </a:r>
                      <a:endParaRPr kumimoji="1" lang="en-US" altLang="ja-JP" sz="1050" b="0" i="0" u="none" strike="noStrike" kern="1200" cap="none" spc="0" normalizeH="0" baseline="0" noProof="0" dirty="0">
                        <a:ln>
                          <a:noFill/>
                        </a:ln>
                        <a:solidFill>
                          <a:schemeClr val="tx1"/>
                        </a:solidFill>
                        <a:effectLst/>
                        <a:uLnTx/>
                        <a:uFillTx/>
                        <a:latin typeface="+mn-ea"/>
                        <a:ea typeface="+mn-ea"/>
                        <a:cs typeface="+mn-cs"/>
                      </a:endParaRPr>
                    </a:p>
                    <a:p>
                      <a:pPr algn="just"/>
                      <a:endParaRPr lang="ja-JP" sz="1050" kern="100" dirty="0">
                        <a:solidFill>
                          <a:schemeClr val="tx1"/>
                        </a:solidFill>
                        <a:effectLst/>
                        <a:latin typeface="+mn-ea"/>
                        <a:ea typeface="+mn-ea"/>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1950497"/>
                  </a:ext>
                </a:extLst>
              </a:tr>
              <a:tr h="618097">
                <a:tc>
                  <a:txBody>
                    <a:bodyPr/>
                    <a:lstStyle/>
                    <a:p>
                      <a:pPr marL="0" algn="ctr" defTabSz="990564" rtl="0" eaLnBrk="1" latinLnBrk="0" hangingPunct="1"/>
                      <a:endParaRPr kumimoji="1" lang="ja-JP" altLang="en-US" sz="1050" kern="100" dirty="0">
                        <a:solidFill>
                          <a:schemeClr val="tx1"/>
                        </a:solidFill>
                        <a:effectLst/>
                        <a:latin typeface="+mn-ea"/>
                        <a:ea typeface="+mn-ea"/>
                        <a:cs typeface="+mn-cs"/>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050" kern="100" dirty="0">
                          <a:solidFill>
                            <a:schemeClr val="tx1"/>
                          </a:solidFill>
                          <a:effectLst/>
                          <a:latin typeface="+mn-ea"/>
                          <a:ea typeface="+mn-ea"/>
                        </a:rPr>
                        <a:t> </a:t>
                      </a:r>
                      <a:endParaRPr lang="ja-JP" sz="1050" kern="100" dirty="0">
                        <a:solidFill>
                          <a:schemeClr val="tx1"/>
                        </a:solidFill>
                        <a:effectLst/>
                        <a:latin typeface="+mn-ea"/>
                        <a:ea typeface="+mn-ea"/>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just"/>
                      <a:r>
                        <a:rPr lang="en-US" sz="1050" kern="100" dirty="0">
                          <a:solidFill>
                            <a:schemeClr val="tx1"/>
                          </a:solidFill>
                          <a:effectLst/>
                          <a:latin typeface="+mn-ea"/>
                          <a:ea typeface="+mn-ea"/>
                        </a:rPr>
                        <a:t> </a:t>
                      </a:r>
                      <a:endParaRPr lang="ja-JP" sz="1050" kern="100" dirty="0">
                        <a:solidFill>
                          <a:schemeClr val="tx1"/>
                        </a:solidFill>
                        <a:effectLst/>
                        <a:latin typeface="+mn-ea"/>
                        <a:ea typeface="+mn-ea"/>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4036963"/>
                  </a:ext>
                </a:extLst>
              </a:tr>
              <a:tr h="618097">
                <a:tc>
                  <a:txBody>
                    <a:bodyPr/>
                    <a:lstStyle/>
                    <a:p>
                      <a:pPr marL="0" algn="ctr" defTabSz="990564" rtl="0" eaLnBrk="1" latinLnBrk="0" hangingPunct="1"/>
                      <a:endParaRPr kumimoji="1" lang="ja-JP" altLang="en-US" sz="1050" kern="100" dirty="0">
                        <a:solidFill>
                          <a:schemeClr val="tx1"/>
                        </a:solidFill>
                        <a:effectLst/>
                        <a:latin typeface="+mn-ea"/>
                        <a:ea typeface="+mn-ea"/>
                        <a:cs typeface="+mn-cs"/>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050" kern="100" dirty="0">
                          <a:solidFill>
                            <a:schemeClr val="tx1"/>
                          </a:solidFill>
                          <a:effectLst/>
                          <a:latin typeface="+mn-ea"/>
                          <a:ea typeface="+mn-ea"/>
                        </a:rPr>
                        <a:t> </a:t>
                      </a:r>
                      <a:endParaRPr lang="ja-JP" sz="1050" kern="100" dirty="0">
                        <a:solidFill>
                          <a:schemeClr val="tx1"/>
                        </a:solidFill>
                        <a:effectLst/>
                        <a:latin typeface="+mn-ea"/>
                        <a:ea typeface="+mn-ea"/>
                        <a:cs typeface="Times New Roman" panose="02020603050405020304" pitchFamily="18"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just"/>
                      <a:r>
                        <a:rPr lang="en-US" sz="1050" kern="100" dirty="0">
                          <a:solidFill>
                            <a:schemeClr val="tx1"/>
                          </a:solidFill>
                          <a:effectLst/>
                          <a:latin typeface="+mn-ea"/>
                          <a:ea typeface="+mn-ea"/>
                        </a:rPr>
                        <a:t> </a:t>
                      </a:r>
                      <a:endParaRPr lang="ja-JP" sz="1050" kern="100" dirty="0">
                        <a:solidFill>
                          <a:schemeClr val="tx1"/>
                        </a:solidFill>
                        <a:effectLst/>
                        <a:latin typeface="+mn-ea"/>
                        <a:ea typeface="+mn-ea"/>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16875810"/>
                  </a:ext>
                </a:extLst>
              </a:tr>
            </a:tbl>
          </a:graphicData>
        </a:graphic>
      </p:graphicFrame>
      <p:sp>
        <p:nvSpPr>
          <p:cNvPr id="16" name="テキスト ボックス 15">
            <a:extLst>
              <a:ext uri="{FF2B5EF4-FFF2-40B4-BE49-F238E27FC236}">
                <a16:creationId xmlns:a16="http://schemas.microsoft.com/office/drawing/2014/main" id="{080C5BBA-BA75-A7AD-836E-463DA37224E8}"/>
              </a:ext>
            </a:extLst>
          </p:cNvPr>
          <p:cNvSpPr txBox="1"/>
          <p:nvPr/>
        </p:nvSpPr>
        <p:spPr bwMode="gray">
          <a:xfrm>
            <a:off x="427836" y="955216"/>
            <a:ext cx="8872622"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a:solidFill>
                  <a:prstClr val="black"/>
                </a:solidFill>
                <a:latin typeface="+mn-ea"/>
                <a:cs typeface="+mn-cs"/>
              </a:rPr>
              <a:t>本提案と類似または同等のデジタル技術等を活用した取組に関する実績</a:t>
            </a:r>
            <a:r>
              <a:rPr kumimoji="1" lang="ja-JP" altLang="en-US" sz="1050" b="1" u="sng">
                <a:solidFill>
                  <a:prstClr val="black"/>
                </a:solidFill>
                <a:latin typeface="+mn-ea"/>
                <a:cs typeface="+mn-cs"/>
              </a:rPr>
              <a:t>（</a:t>
            </a:r>
            <a:r>
              <a:rPr kumimoji="1" lang="ja-JP" altLang="en-US" sz="1050" b="1">
                <a:solidFill>
                  <a:prstClr val="black"/>
                </a:solidFill>
                <a:latin typeface="+mn-ea"/>
                <a:cs typeface="+mn-cs"/>
              </a:rPr>
              <a:t>徳島県外・徳島県内いずれでも可とし、行政と連携した取組等に限定しない）</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7" name="テキスト ボックス 16">
            <a:extLst>
              <a:ext uri="{FF2B5EF4-FFF2-40B4-BE49-F238E27FC236}">
                <a16:creationId xmlns:a16="http://schemas.microsoft.com/office/drawing/2014/main" id="{88991679-78A0-83D5-04BC-2B93090B020A}"/>
              </a:ext>
            </a:extLst>
          </p:cNvPr>
          <p:cNvSpPr txBox="1"/>
          <p:nvPr/>
        </p:nvSpPr>
        <p:spPr bwMode="gray">
          <a:xfrm>
            <a:off x="461753" y="3713507"/>
            <a:ext cx="8568051" cy="153888"/>
          </a:xfrm>
          <a:prstGeom prst="rect">
            <a:avLst/>
          </a:prstGeom>
          <a:noFill/>
        </p:spPr>
        <p:txBody>
          <a:bodyPr wrap="none" lIns="0" tIns="0" rIns="0" bIns="0" rtlCol="0">
            <a:sp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ja-JP" altLang="en-US" sz="1200" b="1" i="0" u="sng" strike="noStrike" kern="1200" cap="none" spc="0" normalizeH="0" baseline="0" noProof="0">
                <a:ln>
                  <a:noFill/>
                </a:ln>
                <a:solidFill>
                  <a:prstClr val="black"/>
                </a:solidFill>
                <a:effectLst/>
                <a:uLnTx/>
                <a:uFillTx/>
                <a:latin typeface="+mn-ea"/>
                <a:cs typeface="+mn-cs"/>
              </a:rPr>
              <a:t>デジタル技術等を活用していないものの本提案内容に関連する実績</a:t>
            </a:r>
            <a:r>
              <a:rPr kumimoji="1" lang="ja-JP" altLang="en-US" sz="1050" b="1" i="0" u="none" strike="noStrike" kern="1200" cap="none" spc="0" normalizeH="0" baseline="0" noProof="0">
                <a:ln>
                  <a:noFill/>
                </a:ln>
                <a:solidFill>
                  <a:prstClr val="black"/>
                </a:solidFill>
                <a:effectLst/>
                <a:uLnTx/>
                <a:uFillTx/>
                <a:latin typeface="+mn-ea"/>
                <a:cs typeface="+mn-cs"/>
              </a:rPr>
              <a:t>（徳島県内・徳島県外いずれでも可とし、行政と連携した取組等に限定しない）</a:t>
            </a:r>
            <a:endParaRPr kumimoji="1" lang="en-US" altLang="ja-JP" sz="1200" b="1" i="0" u="none" strike="noStrike" kern="1200" cap="none" spc="0" normalizeH="0" baseline="0" noProof="0">
              <a:ln>
                <a:noFill/>
              </a:ln>
              <a:solidFill>
                <a:prstClr val="black"/>
              </a:solidFill>
              <a:effectLst/>
              <a:uLnTx/>
              <a:uFillTx/>
              <a:latin typeface="+mn-ea"/>
              <a:cs typeface="+mn-cs"/>
            </a:endParaRPr>
          </a:p>
        </p:txBody>
      </p:sp>
      <p:sp>
        <p:nvSpPr>
          <p:cNvPr id="8" name="四角形: 角を丸くする 7">
            <a:extLst>
              <a:ext uri="{FF2B5EF4-FFF2-40B4-BE49-F238E27FC236}">
                <a16:creationId xmlns:a16="http://schemas.microsoft.com/office/drawing/2014/main" id="{A18A8BD7-9609-6E40-33EA-6A1A572C1FAD}"/>
              </a:ext>
            </a:extLst>
          </p:cNvPr>
          <p:cNvSpPr/>
          <p:nvPr/>
        </p:nvSpPr>
        <p:spPr bwMode="gray">
          <a:xfrm>
            <a:off x="4554116" y="108852"/>
            <a:ext cx="4909482" cy="378666"/>
          </a:xfrm>
          <a:prstGeom prst="roundRect">
            <a:avLst>
              <a:gd name="adj" fmla="val 50000"/>
            </a:avLst>
          </a:prstGeom>
          <a:solidFill>
            <a:srgbClr val="FFCCFF"/>
          </a:solidFill>
          <a:ln w="12700" algn="ctr">
            <a:solidFill>
              <a:srgbClr val="CC99FF"/>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effectLst/>
                <a:uLnTx/>
                <a:uFillTx/>
                <a:latin typeface="+mn-lt"/>
                <a:ea typeface="+mn-ea"/>
                <a:cs typeface="+mn-cs"/>
              </a:rPr>
              <a:t>本ページは</a:t>
            </a:r>
            <a:r>
              <a:rPr kumimoji="1" lang="en-US" altLang="ja-JP" sz="1200" b="0" i="0" u="none" strike="noStrike" kern="1200" cap="none" spc="0" normalizeH="0" baseline="0" noProof="0" dirty="0">
                <a:ln>
                  <a:noFill/>
                </a:ln>
                <a:effectLst/>
                <a:uLnTx/>
                <a:uFillTx/>
                <a:latin typeface="+mn-lt"/>
                <a:ea typeface="+mn-ea"/>
                <a:cs typeface="+mn-cs"/>
              </a:rPr>
              <a:t>1</a:t>
            </a:r>
            <a:r>
              <a:rPr kumimoji="1" lang="ja-JP" altLang="en-US" sz="1200" b="0" i="0" u="none" strike="noStrike" kern="1200" cap="none" spc="0" normalizeH="0" baseline="0" noProof="0" dirty="0">
                <a:ln>
                  <a:noFill/>
                </a:ln>
                <a:effectLst/>
                <a:uLnTx/>
                <a:uFillTx/>
                <a:latin typeface="+mn-lt"/>
                <a:ea typeface="+mn-ea"/>
                <a:cs typeface="+mn-cs"/>
              </a:rPr>
              <a:t>枚以内にまとめていただき、</a:t>
            </a:r>
            <a:endParaRPr kumimoji="1" lang="en-US" altLang="ja-JP" sz="1200" b="0" i="0" u="none" strike="noStrike" kern="1200" cap="none" spc="0" normalizeH="0" baseline="0" noProof="0" dirty="0">
              <a:ln>
                <a:noFill/>
              </a:ln>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の参考資料がある場合は後述の「４</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の参考資料」にご記載ください</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849664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正方形/長方形 69">
            <a:extLst>
              <a:ext uri="{FF2B5EF4-FFF2-40B4-BE49-F238E27FC236}">
                <a16:creationId xmlns:a16="http://schemas.microsoft.com/office/drawing/2014/main" id="{2653E610-D783-B676-9C4D-9F2741D22BEC}"/>
              </a:ext>
            </a:extLst>
          </p:cNvPr>
          <p:cNvSpPr/>
          <p:nvPr/>
        </p:nvSpPr>
        <p:spPr bwMode="gray">
          <a:xfrm>
            <a:off x="132712" y="547975"/>
            <a:ext cx="5325113"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証実験の実施にあたって協力が必要なステークホルダーおよび調整状況</a:t>
            </a:r>
            <a:endParaRPr kumimoji="1" lang="en-US" altLang="ja-JP" sz="1200" b="1" dirty="0">
              <a:latin typeface="+mj-ea"/>
              <a:ea typeface="+mj-ea"/>
              <a:cs typeface="+mn-cs"/>
            </a:endParaRPr>
          </a:p>
        </p:txBody>
      </p:sp>
      <p:sp>
        <p:nvSpPr>
          <p:cNvPr id="2" name="Slide Number Placeholder 1">
            <a:extLst>
              <a:ext uri="{FF2B5EF4-FFF2-40B4-BE49-F238E27FC236}">
                <a16:creationId xmlns:a16="http://schemas.microsoft.com/office/drawing/2014/main" id="{84436913-DDCD-4420-924B-DB039CFE5886}"/>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a:p>
        </p:txBody>
      </p:sp>
      <p:sp>
        <p:nvSpPr>
          <p:cNvPr id="4" name="テキスト ボックス 3">
            <a:extLst>
              <a:ext uri="{FF2B5EF4-FFF2-40B4-BE49-F238E27FC236}">
                <a16:creationId xmlns:a16="http://schemas.microsoft.com/office/drawing/2014/main" id="{2EA7B675-4EF3-F78C-D520-5B7849CE4D3D}"/>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２．実施体制④</a:t>
            </a:r>
          </a:p>
        </p:txBody>
      </p:sp>
      <p:sp>
        <p:nvSpPr>
          <p:cNvPr id="41" name="正方形/長方形 40">
            <a:extLst>
              <a:ext uri="{FF2B5EF4-FFF2-40B4-BE49-F238E27FC236}">
                <a16:creationId xmlns:a16="http://schemas.microsoft.com/office/drawing/2014/main" id="{23FEEE34-7644-CD54-7BB2-AAB47079A683}"/>
              </a:ext>
            </a:extLst>
          </p:cNvPr>
          <p:cNvSpPr/>
          <p:nvPr/>
        </p:nvSpPr>
        <p:spPr>
          <a:xfrm>
            <a:off x="597600" y="1614449"/>
            <a:ext cx="1358155" cy="283463"/>
          </a:xfrm>
          <a:prstGeom prst="rect">
            <a:avLst/>
          </a:prstGeom>
          <a:solidFill>
            <a:schemeClr val="tx2"/>
          </a:solidFill>
          <a:ln w="1905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市町村名等</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42" name="正方形/長方形 41">
            <a:extLst>
              <a:ext uri="{FF2B5EF4-FFF2-40B4-BE49-F238E27FC236}">
                <a16:creationId xmlns:a16="http://schemas.microsoft.com/office/drawing/2014/main" id="{1CD45461-6360-F378-B7FE-FC313445C9CE}"/>
              </a:ext>
            </a:extLst>
          </p:cNvPr>
          <p:cNvSpPr/>
          <p:nvPr/>
        </p:nvSpPr>
        <p:spPr>
          <a:xfrm>
            <a:off x="3575222" y="1614449"/>
            <a:ext cx="2120709" cy="283463"/>
          </a:xfrm>
          <a:prstGeom prst="rect">
            <a:avLst/>
          </a:prstGeom>
          <a:solidFill>
            <a:schemeClr val="tx2"/>
          </a:solidFill>
          <a:ln w="1905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実施にあたり主に協力要請・</a:t>
            </a:r>
            <a:endParaRPr kumimoji="1" lang="en-US" altLang="ja-JP" sz="1050" b="1" kern="0" dirty="0">
              <a:solidFill>
                <a:schemeClr val="bg1"/>
              </a:solidFill>
              <a:latin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調整を要する事項</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43" name="正方形/長方形 42">
            <a:extLst>
              <a:ext uri="{FF2B5EF4-FFF2-40B4-BE49-F238E27FC236}">
                <a16:creationId xmlns:a16="http://schemas.microsoft.com/office/drawing/2014/main" id="{A684F8C9-2A6C-FA17-0FEA-B2210C88896E}"/>
              </a:ext>
            </a:extLst>
          </p:cNvPr>
          <p:cNvSpPr/>
          <p:nvPr/>
        </p:nvSpPr>
        <p:spPr>
          <a:xfrm>
            <a:off x="5782964" y="1614449"/>
            <a:ext cx="1249686" cy="283463"/>
          </a:xfrm>
          <a:prstGeom prst="rect">
            <a:avLst/>
          </a:prstGeom>
          <a:solidFill>
            <a:schemeClr val="accent5"/>
          </a:solidFill>
          <a:ln w="190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調整状況</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grpSp>
        <p:nvGrpSpPr>
          <p:cNvPr id="94" name="グループ化 93">
            <a:extLst>
              <a:ext uri="{FF2B5EF4-FFF2-40B4-BE49-F238E27FC236}">
                <a16:creationId xmlns:a16="http://schemas.microsoft.com/office/drawing/2014/main" id="{B863293A-F42E-4AF0-5B1B-858C70C03E4A}"/>
              </a:ext>
            </a:extLst>
          </p:cNvPr>
          <p:cNvGrpSpPr/>
          <p:nvPr/>
        </p:nvGrpSpPr>
        <p:grpSpPr>
          <a:xfrm>
            <a:off x="7632658" y="1614449"/>
            <a:ext cx="2082842" cy="2671079"/>
            <a:chOff x="7708858" y="4134581"/>
            <a:chExt cx="2082842" cy="2671079"/>
          </a:xfrm>
        </p:grpSpPr>
        <p:sp>
          <p:nvSpPr>
            <p:cNvPr id="93" name="正方形/長方形 92">
              <a:extLst>
                <a:ext uri="{FF2B5EF4-FFF2-40B4-BE49-F238E27FC236}">
                  <a16:creationId xmlns:a16="http://schemas.microsoft.com/office/drawing/2014/main" id="{B41AA6BD-0A08-7B77-4269-D76C942D13FD}"/>
                </a:ext>
              </a:extLst>
            </p:cNvPr>
            <p:cNvSpPr/>
            <p:nvPr/>
          </p:nvSpPr>
          <p:spPr bwMode="gray">
            <a:xfrm>
              <a:off x="7708858" y="4134581"/>
              <a:ext cx="2082842" cy="2671079"/>
            </a:xfrm>
            <a:prstGeom prst="rect">
              <a:avLst/>
            </a:prstGeom>
            <a:solidFill>
              <a:schemeClr val="tx2">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4" name="直線矢印コネクタ 83">
              <a:extLst>
                <a:ext uri="{FF2B5EF4-FFF2-40B4-BE49-F238E27FC236}">
                  <a16:creationId xmlns:a16="http://schemas.microsoft.com/office/drawing/2014/main" id="{1528548B-8981-7521-03CA-7AE971FF4C02}"/>
                </a:ext>
              </a:extLst>
            </p:cNvPr>
            <p:cNvCxnSpPr>
              <a:cxnSpLocks/>
            </p:cNvCxnSpPr>
            <p:nvPr/>
          </p:nvCxnSpPr>
          <p:spPr bwMode="gray">
            <a:xfrm>
              <a:off x="8026445" y="5086173"/>
              <a:ext cx="0" cy="1287957"/>
            </a:xfrm>
            <a:prstGeom prst="straightConnector1">
              <a:avLst/>
            </a:prstGeom>
            <a:ln w="3810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95AEE957-8B7C-FA71-14EE-C5628767876C}"/>
                </a:ext>
              </a:extLst>
            </p:cNvPr>
            <p:cNvSpPr txBox="1"/>
            <p:nvPr/>
          </p:nvSpPr>
          <p:spPr bwMode="gray">
            <a:xfrm>
              <a:off x="7785121" y="5336008"/>
              <a:ext cx="184666" cy="769441"/>
            </a:xfrm>
            <a:prstGeom prst="rect">
              <a:avLst/>
            </a:prstGeom>
            <a:noFill/>
          </p:spPr>
          <p:txBody>
            <a:bodyPr vert="eaVert"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accent5"/>
                  </a:solidFill>
                  <a:effectLst/>
                  <a:uLnTx/>
                  <a:uFillTx/>
                  <a:latin typeface="+mn-lt"/>
                  <a:ea typeface="+mn-ea"/>
                  <a:cs typeface="+mn-cs"/>
                </a:rPr>
                <a:t>調整レベル</a:t>
              </a:r>
            </a:p>
          </p:txBody>
        </p:sp>
        <p:sp>
          <p:nvSpPr>
            <p:cNvPr id="86" name="テキスト ボックス 85">
              <a:extLst>
                <a:ext uri="{FF2B5EF4-FFF2-40B4-BE49-F238E27FC236}">
                  <a16:creationId xmlns:a16="http://schemas.microsoft.com/office/drawing/2014/main" id="{DF3146EE-7156-6A28-B604-A7A9C6206419}"/>
                </a:ext>
              </a:extLst>
            </p:cNvPr>
            <p:cNvSpPr txBox="1"/>
            <p:nvPr/>
          </p:nvSpPr>
          <p:spPr bwMode="gray">
            <a:xfrm>
              <a:off x="7877454" y="4873946"/>
              <a:ext cx="282129"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accent5"/>
                  </a:solidFill>
                  <a:latin typeface="+mn-lt"/>
                  <a:cs typeface="+mn-cs"/>
                </a:rPr>
                <a:t>高い</a:t>
              </a:r>
              <a:endParaRPr kumimoji="1" lang="ja-JP" altLang="en-US" sz="1200" b="1" i="0" u="none" strike="noStrike" kern="1200" cap="none" spc="0" normalizeH="0" baseline="0" noProof="0" dirty="0">
                <a:ln>
                  <a:noFill/>
                </a:ln>
                <a:solidFill>
                  <a:schemeClr val="accent5"/>
                </a:solidFill>
                <a:effectLst/>
                <a:uLnTx/>
                <a:uFillTx/>
                <a:latin typeface="+mn-lt"/>
                <a:ea typeface="+mn-ea"/>
                <a:cs typeface="+mn-cs"/>
              </a:endParaRPr>
            </a:p>
          </p:txBody>
        </p:sp>
        <p:sp>
          <p:nvSpPr>
            <p:cNvPr id="87" name="テキスト ボックス 86">
              <a:extLst>
                <a:ext uri="{FF2B5EF4-FFF2-40B4-BE49-F238E27FC236}">
                  <a16:creationId xmlns:a16="http://schemas.microsoft.com/office/drawing/2014/main" id="{CDFA8CD1-C5F6-BBE2-E698-05CA5C7C727C}"/>
                </a:ext>
              </a:extLst>
            </p:cNvPr>
            <p:cNvSpPr txBox="1"/>
            <p:nvPr/>
          </p:nvSpPr>
          <p:spPr bwMode="gray">
            <a:xfrm>
              <a:off x="7877454" y="6412203"/>
              <a:ext cx="282129"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accent5"/>
                  </a:solidFill>
                  <a:latin typeface="+mn-lt"/>
                  <a:cs typeface="+mn-cs"/>
                </a:rPr>
                <a:t>低い</a:t>
              </a:r>
              <a:endParaRPr kumimoji="1" lang="ja-JP" altLang="en-US" sz="1200" b="1" i="0" u="none" strike="noStrike" kern="1200" cap="none" spc="0" normalizeH="0" baseline="0" noProof="0" dirty="0">
                <a:ln>
                  <a:noFill/>
                </a:ln>
                <a:solidFill>
                  <a:schemeClr val="accent5"/>
                </a:solidFill>
                <a:effectLst/>
                <a:uLnTx/>
                <a:uFillTx/>
                <a:latin typeface="+mn-lt"/>
                <a:ea typeface="+mn-ea"/>
                <a:cs typeface="+mn-cs"/>
              </a:endParaRPr>
            </a:p>
          </p:txBody>
        </p:sp>
        <p:sp>
          <p:nvSpPr>
            <p:cNvPr id="88" name="正方形/長方形 87">
              <a:extLst>
                <a:ext uri="{FF2B5EF4-FFF2-40B4-BE49-F238E27FC236}">
                  <a16:creationId xmlns:a16="http://schemas.microsoft.com/office/drawing/2014/main" id="{CE3CE739-46E5-9F10-0135-C0646D73866C}"/>
                </a:ext>
              </a:extLst>
            </p:cNvPr>
            <p:cNvSpPr/>
            <p:nvPr/>
          </p:nvSpPr>
          <p:spPr bwMode="gray">
            <a:xfrm>
              <a:off x="8223280" y="4738384"/>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具体的な協力内容</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について承諾済</a:t>
              </a:r>
            </a:p>
          </p:txBody>
        </p:sp>
        <p:sp>
          <p:nvSpPr>
            <p:cNvPr id="89" name="正方形/長方形 88">
              <a:extLst>
                <a:ext uri="{FF2B5EF4-FFF2-40B4-BE49-F238E27FC236}">
                  <a16:creationId xmlns:a16="http://schemas.microsoft.com/office/drawing/2014/main" id="{12FAECC4-B7C5-A0EC-0EB7-FBB530692993}"/>
                </a:ext>
              </a:extLst>
            </p:cNvPr>
            <p:cNvSpPr/>
            <p:nvPr/>
          </p:nvSpPr>
          <p:spPr bwMode="gray">
            <a:xfrm>
              <a:off x="8223280" y="5259281"/>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dirty="0"/>
                <a:t>具体的な協力内容</a:t>
              </a:r>
              <a:endParaRPr kumimoji="1" lang="en-US" altLang="ja-JP" sz="1000" dirty="0"/>
            </a:p>
            <a:p>
              <a:pPr algn="ctr" defTabSz="990564" fontAlgn="auto">
                <a:spcBef>
                  <a:spcPts val="0"/>
                </a:spcBef>
                <a:spcAft>
                  <a:spcPts val="0"/>
                </a:spcAft>
                <a:buSzPct val="100000"/>
              </a:pPr>
              <a:r>
                <a:rPr kumimoji="1" lang="ja-JP" altLang="en-US" sz="1000" dirty="0"/>
                <a:t>の協議中</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90" name="正方形/長方形 89">
              <a:extLst>
                <a:ext uri="{FF2B5EF4-FFF2-40B4-BE49-F238E27FC236}">
                  <a16:creationId xmlns:a16="http://schemas.microsoft.com/office/drawing/2014/main" id="{18FC6E76-1A2C-91E3-3FFC-FB0CACE8CE5C}"/>
                </a:ext>
              </a:extLst>
            </p:cNvPr>
            <p:cNvSpPr/>
            <p:nvPr/>
          </p:nvSpPr>
          <p:spPr bwMode="gray">
            <a:xfrm>
              <a:off x="8223280" y="5764077"/>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dirty="0"/>
                <a:t>具体的な協力内容の協議に至っていないが打診済</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91" name="正方形/長方形 90">
              <a:extLst>
                <a:ext uri="{FF2B5EF4-FFF2-40B4-BE49-F238E27FC236}">
                  <a16:creationId xmlns:a16="http://schemas.microsoft.com/office/drawing/2014/main" id="{B7A8A1AE-D605-40F5-8F92-F0B7AEC15E2F}"/>
                </a:ext>
              </a:extLst>
            </p:cNvPr>
            <p:cNvSpPr/>
            <p:nvPr/>
          </p:nvSpPr>
          <p:spPr bwMode="gray">
            <a:xfrm>
              <a:off x="8223280" y="6283519"/>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dirty="0"/>
                <a:t>打診前</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grpSp>
      <p:cxnSp>
        <p:nvCxnSpPr>
          <p:cNvPr id="96" name="コネクタ: カギ線 95">
            <a:extLst>
              <a:ext uri="{FF2B5EF4-FFF2-40B4-BE49-F238E27FC236}">
                <a16:creationId xmlns:a16="http://schemas.microsoft.com/office/drawing/2014/main" id="{2B7E49A6-0BDA-D905-591C-6DBD2DB63CEE}"/>
              </a:ext>
            </a:extLst>
          </p:cNvPr>
          <p:cNvCxnSpPr>
            <a:cxnSpLocks/>
            <a:stCxn id="93" idx="1"/>
            <a:endCxn id="71" idx="3"/>
          </p:cNvCxnSpPr>
          <p:nvPr/>
        </p:nvCxnSpPr>
        <p:spPr bwMode="gray">
          <a:xfrm rot="10800000">
            <a:off x="7032648" y="2447477"/>
            <a:ext cx="600011" cy="502513"/>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7" name="コネクタ: カギ線 96">
            <a:extLst>
              <a:ext uri="{FF2B5EF4-FFF2-40B4-BE49-F238E27FC236}">
                <a16:creationId xmlns:a16="http://schemas.microsoft.com/office/drawing/2014/main" id="{BDA375E8-71FC-CCCE-E02B-964D3A5AF7ED}"/>
              </a:ext>
            </a:extLst>
          </p:cNvPr>
          <p:cNvCxnSpPr>
            <a:cxnSpLocks/>
            <a:stCxn id="93" idx="1"/>
            <a:endCxn id="75" idx="3"/>
          </p:cNvCxnSpPr>
          <p:nvPr/>
        </p:nvCxnSpPr>
        <p:spPr bwMode="gray">
          <a:xfrm rot="10800000" flipV="1">
            <a:off x="7032648" y="2949988"/>
            <a:ext cx="600011" cy="589115"/>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コネクタ: カギ線 99">
            <a:extLst>
              <a:ext uri="{FF2B5EF4-FFF2-40B4-BE49-F238E27FC236}">
                <a16:creationId xmlns:a16="http://schemas.microsoft.com/office/drawing/2014/main" id="{AC82FA42-2D61-8F34-D5B2-437845B54F79}"/>
              </a:ext>
            </a:extLst>
          </p:cNvPr>
          <p:cNvCxnSpPr>
            <a:cxnSpLocks/>
            <a:stCxn id="93" idx="1"/>
            <a:endCxn id="78" idx="3"/>
          </p:cNvCxnSpPr>
          <p:nvPr/>
        </p:nvCxnSpPr>
        <p:spPr bwMode="gray">
          <a:xfrm rot="10800000" flipV="1">
            <a:off x="7032648" y="2949989"/>
            <a:ext cx="600011" cy="168167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コネクタ: カギ線 102">
            <a:extLst>
              <a:ext uri="{FF2B5EF4-FFF2-40B4-BE49-F238E27FC236}">
                <a16:creationId xmlns:a16="http://schemas.microsoft.com/office/drawing/2014/main" id="{C14D31CD-5DC0-56E4-7C7D-9CDBF4F7A236}"/>
              </a:ext>
            </a:extLst>
          </p:cNvPr>
          <p:cNvCxnSpPr>
            <a:cxnSpLocks/>
            <a:stCxn id="93" idx="1"/>
            <a:endCxn id="81" idx="3"/>
          </p:cNvCxnSpPr>
          <p:nvPr/>
        </p:nvCxnSpPr>
        <p:spPr bwMode="gray">
          <a:xfrm rot="10800000" flipV="1">
            <a:off x="7032648" y="2949988"/>
            <a:ext cx="600011" cy="2780471"/>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4" name="正方形/長方形 43">
            <a:extLst>
              <a:ext uri="{FF2B5EF4-FFF2-40B4-BE49-F238E27FC236}">
                <a16:creationId xmlns:a16="http://schemas.microsoft.com/office/drawing/2014/main" id="{DFEAE316-BF0F-386E-50A3-AEC1DFD76DC6}"/>
              </a:ext>
            </a:extLst>
          </p:cNvPr>
          <p:cNvSpPr/>
          <p:nvPr/>
        </p:nvSpPr>
        <p:spPr>
          <a:xfrm>
            <a:off x="597600" y="1933612"/>
            <a:ext cx="1358154" cy="10080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dirty="0">
              <a:solidFill>
                <a:prstClr val="black"/>
              </a:solidFill>
              <a:latin typeface="+mn-lt"/>
              <a:cs typeface="+mn-cs"/>
            </a:endParaRPr>
          </a:p>
        </p:txBody>
      </p:sp>
      <p:sp>
        <p:nvSpPr>
          <p:cNvPr id="45" name="正方形/長方形 44">
            <a:extLst>
              <a:ext uri="{FF2B5EF4-FFF2-40B4-BE49-F238E27FC236}">
                <a16:creationId xmlns:a16="http://schemas.microsoft.com/office/drawing/2014/main" id="{DF9730C9-4EDE-C346-C6AB-B8311E00C3F2}"/>
              </a:ext>
            </a:extLst>
          </p:cNvPr>
          <p:cNvSpPr/>
          <p:nvPr/>
        </p:nvSpPr>
        <p:spPr>
          <a:xfrm>
            <a:off x="3575222" y="1933613"/>
            <a:ext cx="2120709" cy="10080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dirty="0">
              <a:solidFill>
                <a:prstClr val="black"/>
              </a:solidFill>
              <a:latin typeface="+mn-lt"/>
              <a:cs typeface="+mn-cs"/>
            </a:endParaRPr>
          </a:p>
        </p:txBody>
      </p:sp>
      <p:sp>
        <p:nvSpPr>
          <p:cNvPr id="71" name="正方形/長方形 70">
            <a:extLst>
              <a:ext uri="{FF2B5EF4-FFF2-40B4-BE49-F238E27FC236}">
                <a16:creationId xmlns:a16="http://schemas.microsoft.com/office/drawing/2014/main" id="{89F20FCE-68FC-13EA-5384-74B3BA84A493}"/>
              </a:ext>
            </a:extLst>
          </p:cNvPr>
          <p:cNvSpPr/>
          <p:nvPr/>
        </p:nvSpPr>
        <p:spPr>
          <a:xfrm>
            <a:off x="5782962" y="1943476"/>
            <a:ext cx="1249685" cy="1008000"/>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18" name="正方形/長方形 117">
            <a:extLst>
              <a:ext uri="{FF2B5EF4-FFF2-40B4-BE49-F238E27FC236}">
                <a16:creationId xmlns:a16="http://schemas.microsoft.com/office/drawing/2014/main" id="{7622895F-89F9-8B83-7F57-55F23E56C944}"/>
              </a:ext>
            </a:extLst>
          </p:cNvPr>
          <p:cNvSpPr/>
          <p:nvPr/>
        </p:nvSpPr>
        <p:spPr bwMode="gray">
          <a:xfrm>
            <a:off x="328887" y="1943476"/>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自治体①</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D2DDD28B-9CD5-B2B4-1327-B90D1F43BB2D}"/>
              </a:ext>
            </a:extLst>
          </p:cNvPr>
          <p:cNvSpPr/>
          <p:nvPr/>
        </p:nvSpPr>
        <p:spPr>
          <a:xfrm>
            <a:off x="597600" y="4125054"/>
            <a:ext cx="135815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77" name="正方形/長方形 76">
            <a:extLst>
              <a:ext uri="{FF2B5EF4-FFF2-40B4-BE49-F238E27FC236}">
                <a16:creationId xmlns:a16="http://schemas.microsoft.com/office/drawing/2014/main" id="{8276FE99-6A30-6508-222B-3553D65F5612}"/>
              </a:ext>
            </a:extLst>
          </p:cNvPr>
          <p:cNvSpPr/>
          <p:nvPr/>
        </p:nvSpPr>
        <p:spPr>
          <a:xfrm>
            <a:off x="3575222" y="4124797"/>
            <a:ext cx="2120709" cy="1007158"/>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78" name="正方形/長方形 77">
            <a:extLst>
              <a:ext uri="{FF2B5EF4-FFF2-40B4-BE49-F238E27FC236}">
                <a16:creationId xmlns:a16="http://schemas.microsoft.com/office/drawing/2014/main" id="{35251794-27A9-08AD-27CE-CB1130875FE8}"/>
              </a:ext>
            </a:extLst>
          </p:cNvPr>
          <p:cNvSpPr/>
          <p:nvPr/>
        </p:nvSpPr>
        <p:spPr>
          <a:xfrm>
            <a:off x="5782962" y="4128084"/>
            <a:ext cx="1249685" cy="1007158"/>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19" name="正方形/長方形 118">
            <a:extLst>
              <a:ext uri="{FF2B5EF4-FFF2-40B4-BE49-F238E27FC236}">
                <a16:creationId xmlns:a16="http://schemas.microsoft.com/office/drawing/2014/main" id="{939CA334-5573-EF5A-0710-BCBD90A9AD98}"/>
              </a:ext>
            </a:extLst>
          </p:cNvPr>
          <p:cNvSpPr/>
          <p:nvPr/>
        </p:nvSpPr>
        <p:spPr bwMode="gray">
          <a:xfrm>
            <a:off x="328887" y="4133051"/>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rPr>
              <a:t>自治体③</a:t>
            </a:r>
          </a:p>
        </p:txBody>
      </p:sp>
      <p:sp>
        <p:nvSpPr>
          <p:cNvPr id="73" name="正方形/長方形 72">
            <a:extLst>
              <a:ext uri="{FF2B5EF4-FFF2-40B4-BE49-F238E27FC236}">
                <a16:creationId xmlns:a16="http://schemas.microsoft.com/office/drawing/2014/main" id="{7985FC95-1DB1-4BDD-F4D0-CB0CA9BF14E7}"/>
              </a:ext>
            </a:extLst>
          </p:cNvPr>
          <p:cNvSpPr/>
          <p:nvPr/>
        </p:nvSpPr>
        <p:spPr>
          <a:xfrm>
            <a:off x="597600" y="3029207"/>
            <a:ext cx="135815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dirty="0">
              <a:solidFill>
                <a:prstClr val="black"/>
              </a:solidFill>
              <a:latin typeface="+mn-lt"/>
              <a:cs typeface="+mn-cs"/>
            </a:endParaRPr>
          </a:p>
        </p:txBody>
      </p:sp>
      <p:sp>
        <p:nvSpPr>
          <p:cNvPr id="74" name="正方形/長方形 73">
            <a:extLst>
              <a:ext uri="{FF2B5EF4-FFF2-40B4-BE49-F238E27FC236}">
                <a16:creationId xmlns:a16="http://schemas.microsoft.com/office/drawing/2014/main" id="{0F0EF4F7-4F71-CD50-819A-1954927EA78D}"/>
              </a:ext>
            </a:extLst>
          </p:cNvPr>
          <p:cNvSpPr/>
          <p:nvPr/>
        </p:nvSpPr>
        <p:spPr>
          <a:xfrm>
            <a:off x="3575222" y="3028950"/>
            <a:ext cx="2120709" cy="1007158"/>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75" name="正方形/長方形 74">
            <a:extLst>
              <a:ext uri="{FF2B5EF4-FFF2-40B4-BE49-F238E27FC236}">
                <a16:creationId xmlns:a16="http://schemas.microsoft.com/office/drawing/2014/main" id="{C512A9B4-F92F-F62F-1AA6-F58777974D47}"/>
              </a:ext>
            </a:extLst>
          </p:cNvPr>
          <p:cNvSpPr/>
          <p:nvPr/>
        </p:nvSpPr>
        <p:spPr>
          <a:xfrm>
            <a:off x="5782962" y="3035525"/>
            <a:ext cx="1249685" cy="1007158"/>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20" name="正方形/長方形 119">
            <a:extLst>
              <a:ext uri="{FF2B5EF4-FFF2-40B4-BE49-F238E27FC236}">
                <a16:creationId xmlns:a16="http://schemas.microsoft.com/office/drawing/2014/main" id="{60C456F9-74EE-1213-8846-A3C4111671A2}"/>
              </a:ext>
            </a:extLst>
          </p:cNvPr>
          <p:cNvSpPr/>
          <p:nvPr/>
        </p:nvSpPr>
        <p:spPr bwMode="gray">
          <a:xfrm>
            <a:off x="328887" y="3036841"/>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rPr>
              <a:t>自治体②</a:t>
            </a:r>
          </a:p>
        </p:txBody>
      </p:sp>
      <p:sp>
        <p:nvSpPr>
          <p:cNvPr id="79" name="正方形/長方形 78">
            <a:extLst>
              <a:ext uri="{FF2B5EF4-FFF2-40B4-BE49-F238E27FC236}">
                <a16:creationId xmlns:a16="http://schemas.microsoft.com/office/drawing/2014/main" id="{E9417BE4-EE15-8AC2-1E22-FBF2BA1C9ED8}"/>
              </a:ext>
            </a:extLst>
          </p:cNvPr>
          <p:cNvSpPr/>
          <p:nvPr/>
        </p:nvSpPr>
        <p:spPr>
          <a:xfrm>
            <a:off x="597600" y="5227138"/>
            <a:ext cx="135815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80" name="正方形/長方形 79">
            <a:extLst>
              <a:ext uri="{FF2B5EF4-FFF2-40B4-BE49-F238E27FC236}">
                <a16:creationId xmlns:a16="http://schemas.microsoft.com/office/drawing/2014/main" id="{F5AE08F8-8250-78AC-A7C7-7FDD241FA0C3}"/>
              </a:ext>
            </a:extLst>
          </p:cNvPr>
          <p:cNvSpPr/>
          <p:nvPr/>
        </p:nvSpPr>
        <p:spPr>
          <a:xfrm>
            <a:off x="3575222" y="5226881"/>
            <a:ext cx="2120709" cy="1007158"/>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81" name="正方形/長方形 80">
            <a:extLst>
              <a:ext uri="{FF2B5EF4-FFF2-40B4-BE49-F238E27FC236}">
                <a16:creationId xmlns:a16="http://schemas.microsoft.com/office/drawing/2014/main" id="{28678DF2-6F8F-86C3-408F-554DF0C27EC1}"/>
              </a:ext>
            </a:extLst>
          </p:cNvPr>
          <p:cNvSpPr/>
          <p:nvPr/>
        </p:nvSpPr>
        <p:spPr>
          <a:xfrm>
            <a:off x="5782962" y="5226881"/>
            <a:ext cx="1249685" cy="1007158"/>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21" name="正方形/長方形 120">
            <a:extLst>
              <a:ext uri="{FF2B5EF4-FFF2-40B4-BE49-F238E27FC236}">
                <a16:creationId xmlns:a16="http://schemas.microsoft.com/office/drawing/2014/main" id="{057FCE4F-BB70-1CF2-FFFB-1B16EE7BE2FD}"/>
              </a:ext>
            </a:extLst>
          </p:cNvPr>
          <p:cNvSpPr/>
          <p:nvPr/>
        </p:nvSpPr>
        <p:spPr bwMode="gray">
          <a:xfrm>
            <a:off x="328887" y="5235500"/>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rPr>
              <a:t>自治体④</a:t>
            </a:r>
          </a:p>
        </p:txBody>
      </p:sp>
      <p:sp>
        <p:nvSpPr>
          <p:cNvPr id="122" name="テキスト ボックス 121">
            <a:extLst>
              <a:ext uri="{FF2B5EF4-FFF2-40B4-BE49-F238E27FC236}">
                <a16:creationId xmlns:a16="http://schemas.microsoft.com/office/drawing/2014/main" id="{39E31B3F-BCCE-CBBC-E884-EED0B2DD2CF5}"/>
              </a:ext>
            </a:extLst>
          </p:cNvPr>
          <p:cNvSpPr txBox="1"/>
          <p:nvPr/>
        </p:nvSpPr>
        <p:spPr bwMode="gray">
          <a:xfrm>
            <a:off x="7763745" y="1725081"/>
            <a:ext cx="1824217" cy="369332"/>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sng" strike="noStrike" kern="1200" cap="none" spc="0" normalizeH="0" baseline="0" noProof="0" dirty="0">
                <a:ln>
                  <a:noFill/>
                </a:ln>
                <a:solidFill>
                  <a:prstClr val="black"/>
                </a:solidFill>
                <a:effectLst/>
                <a:uLnTx/>
                <a:uFillTx/>
                <a:latin typeface="+mn-lt"/>
                <a:ea typeface="+mn-ea"/>
                <a:cs typeface="+mn-cs"/>
              </a:rPr>
              <a:t>下記のいずれかの調整状況を</a:t>
            </a:r>
            <a:endParaRPr kumimoji="1" lang="en-US" altLang="ja-JP" sz="1200" b="1" i="0" u="sng"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左記に記載すること</a:t>
            </a:r>
            <a:endParaRPr kumimoji="1" lang="ja-JP" altLang="en-US" sz="1200" b="1" i="0" u="sng" strike="noStrike" kern="1200" cap="none" spc="0" normalizeH="0" baseline="0" noProof="0" dirty="0">
              <a:ln>
                <a:noFill/>
              </a:ln>
              <a:solidFill>
                <a:prstClr val="black"/>
              </a:solidFill>
              <a:effectLst/>
              <a:uLnTx/>
              <a:uFillTx/>
              <a:latin typeface="+mn-lt"/>
              <a:ea typeface="+mn-ea"/>
              <a:cs typeface="+mn-cs"/>
            </a:endParaRPr>
          </a:p>
        </p:txBody>
      </p:sp>
      <p:sp>
        <p:nvSpPr>
          <p:cNvPr id="6" name="正方形/長方形 5">
            <a:extLst>
              <a:ext uri="{FF2B5EF4-FFF2-40B4-BE49-F238E27FC236}">
                <a16:creationId xmlns:a16="http://schemas.microsoft.com/office/drawing/2014/main" id="{CD2BF7ED-833C-D49E-446C-A659B9D222DF}"/>
              </a:ext>
            </a:extLst>
          </p:cNvPr>
          <p:cNvSpPr/>
          <p:nvPr/>
        </p:nvSpPr>
        <p:spPr bwMode="gray">
          <a:xfrm>
            <a:off x="333306" y="997071"/>
            <a:ext cx="9057829" cy="28155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400"/>
              </a:lnSpc>
              <a:spcBef>
                <a:spcPts val="0"/>
              </a:spcBef>
              <a:spcAft>
                <a:spcPts val="0"/>
              </a:spcAft>
              <a:buSzPct val="100000"/>
            </a:pPr>
            <a:r>
              <a:rPr kumimoji="1" lang="en-US" altLang="ja-JP" sz="1050" dirty="0">
                <a:latin typeface="+mn-ea"/>
              </a:rPr>
              <a:t>※</a:t>
            </a:r>
            <a:r>
              <a:rPr kumimoji="1" lang="ja-JP" altLang="en-US" sz="1050" dirty="0">
                <a:latin typeface="+mn-ea"/>
              </a:rPr>
              <a:t>実施主体ではなく協力団体である団体については下記に記載してください。</a:t>
            </a:r>
            <a:endParaRPr kumimoji="1" lang="en-US" altLang="ja-JP" sz="1050" dirty="0">
              <a:latin typeface="+mn-ea"/>
            </a:endParaRPr>
          </a:p>
          <a:p>
            <a:pPr marL="180000" indent="-457200" defTabSz="990564" fontAlgn="auto">
              <a:lnSpc>
                <a:spcPts val="1400"/>
              </a:lnSpc>
              <a:spcBef>
                <a:spcPts val="0"/>
              </a:spcBef>
              <a:spcAft>
                <a:spcPts val="0"/>
              </a:spcAft>
              <a:buSzPct val="100000"/>
            </a:pPr>
            <a:r>
              <a:rPr kumimoji="1" lang="en-US" altLang="ja-JP" sz="1050" b="1" u="sng" dirty="0">
                <a:latin typeface="+mn-ea"/>
              </a:rPr>
              <a:t>※</a:t>
            </a:r>
            <a:r>
              <a:rPr kumimoji="1" lang="ja-JP" altLang="en-US" sz="1050" b="1" u="sng" dirty="0">
                <a:latin typeface="+mn-ea"/>
              </a:rPr>
              <a:t>実証フィールドの提供や、その他実証実験への協力、</a:t>
            </a:r>
            <a:r>
              <a:rPr kumimoji="1" lang="en-US" altLang="ja-JP" sz="1050" b="1" u="sng" dirty="0">
                <a:latin typeface="+mn-ea"/>
              </a:rPr>
              <a:t>WG</a:t>
            </a:r>
            <a:r>
              <a:rPr kumimoji="1" lang="ja-JP" altLang="en-US" sz="1050" b="1" u="sng" dirty="0">
                <a:latin typeface="+mn-ea"/>
              </a:rPr>
              <a:t>での議論への参画を要請する自治体への調整状況について記載してください。</a:t>
            </a:r>
            <a:endParaRPr kumimoji="1" lang="en-US" altLang="ja-JP" sz="1050" b="1" u="sng" dirty="0">
              <a:latin typeface="+mn-ea"/>
            </a:endParaRPr>
          </a:p>
          <a:p>
            <a:pPr marL="180000" indent="-457200" defTabSz="990564" fontAlgn="auto">
              <a:lnSpc>
                <a:spcPts val="1400"/>
              </a:lnSpc>
              <a:spcBef>
                <a:spcPts val="0"/>
              </a:spcBef>
              <a:spcAft>
                <a:spcPts val="0"/>
              </a:spcAft>
              <a:buSzPct val="100000"/>
            </a:pPr>
            <a:r>
              <a:rPr kumimoji="1" lang="en-US" altLang="ja-JP" sz="1050" b="1" u="sng" dirty="0">
                <a:latin typeface="+mn-ea"/>
              </a:rPr>
              <a:t>※</a:t>
            </a:r>
            <a:r>
              <a:rPr kumimoji="1" lang="ja-JP" altLang="en-US" sz="1050" b="1" u="sng" dirty="0">
                <a:latin typeface="+mn-ea"/>
              </a:rPr>
              <a:t>県内市町村については下記に記載してください。ただし、既に本県の特定の部署をステークホルダーとして想定されている場合は、そちらについても記載してください。</a:t>
            </a:r>
            <a:endParaRPr kumimoji="1" lang="en-US" altLang="ja-JP" sz="1050" b="1" u="sng" dirty="0">
              <a:latin typeface="+mn-ea"/>
            </a:endParaRPr>
          </a:p>
          <a:p>
            <a:pPr marL="180000" indent="-457200" defTabSz="990564" fontAlgn="auto">
              <a:lnSpc>
                <a:spcPts val="1400"/>
              </a:lnSpc>
              <a:spcBef>
                <a:spcPts val="0"/>
              </a:spcBef>
              <a:spcAft>
                <a:spcPts val="0"/>
              </a:spcAft>
              <a:buSzPct val="100000"/>
            </a:pPr>
            <a:r>
              <a:rPr kumimoji="1" lang="en-US" altLang="ja-JP" sz="1050" b="1" u="sng" dirty="0">
                <a:latin typeface="+mn-ea"/>
              </a:rPr>
              <a:t>※</a:t>
            </a:r>
            <a:r>
              <a:rPr kumimoji="1" lang="ja-JP" altLang="en-US" sz="1050" b="1" u="sng" dirty="0">
                <a:latin typeface="+mn-ea"/>
              </a:rPr>
              <a:t>記載されている自治体の数を評価するものではございませんのでご留意ください。</a:t>
            </a:r>
            <a:endParaRPr kumimoji="1" lang="en-US" altLang="ja-JP" sz="1050" b="1" u="sng" dirty="0">
              <a:latin typeface="+mn-ea"/>
            </a:endParaRPr>
          </a:p>
        </p:txBody>
      </p:sp>
      <p:sp>
        <p:nvSpPr>
          <p:cNvPr id="9" name="正方形/長方形 8">
            <a:extLst>
              <a:ext uri="{FF2B5EF4-FFF2-40B4-BE49-F238E27FC236}">
                <a16:creationId xmlns:a16="http://schemas.microsoft.com/office/drawing/2014/main" id="{2FDACE65-9267-2B5B-48EE-929C12B788AD}"/>
              </a:ext>
            </a:extLst>
          </p:cNvPr>
          <p:cNvSpPr/>
          <p:nvPr/>
        </p:nvSpPr>
        <p:spPr>
          <a:xfrm>
            <a:off x="2032017" y="1612183"/>
            <a:ext cx="1456175" cy="283463"/>
          </a:xfrm>
          <a:prstGeom prst="rect">
            <a:avLst/>
          </a:prstGeom>
          <a:solidFill>
            <a:schemeClr val="tx2"/>
          </a:solidFill>
          <a:ln w="1905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担当者情報等</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10" name="正方形/長方形 9">
            <a:extLst>
              <a:ext uri="{FF2B5EF4-FFF2-40B4-BE49-F238E27FC236}">
                <a16:creationId xmlns:a16="http://schemas.microsoft.com/office/drawing/2014/main" id="{9963154D-B398-CED1-4D22-6A91876C922D}"/>
              </a:ext>
            </a:extLst>
          </p:cNvPr>
          <p:cNvSpPr/>
          <p:nvPr/>
        </p:nvSpPr>
        <p:spPr>
          <a:xfrm>
            <a:off x="2032017" y="1931346"/>
            <a:ext cx="1456174" cy="10080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latin typeface="+mn-lt"/>
                <a:cs typeface="+mn-cs"/>
              </a:rPr>
              <a:t>担当部署名</a:t>
            </a:r>
            <a:endParaRPr kumimoji="1" lang="en-US" altLang="ja-JP" sz="1050" b="1" u="sng" dirty="0">
              <a:latin typeface="+mn-lt"/>
              <a:cs typeface="+mn-cs"/>
            </a:endParaRPr>
          </a:p>
          <a:p>
            <a:pPr defTabSz="990564" fontAlgn="auto">
              <a:spcBef>
                <a:spcPts val="0"/>
              </a:spcBef>
              <a:spcAft>
                <a:spcPts val="0"/>
              </a:spcAft>
              <a:buSzPct val="100000"/>
            </a:pPr>
            <a:endParaRPr kumimoji="1" lang="en-US" altLang="ja-JP" sz="1050" dirty="0">
              <a:latin typeface="+mn-lt"/>
              <a:cs typeface="+mn-cs"/>
            </a:endParaRPr>
          </a:p>
          <a:p>
            <a:pPr defTabSz="990564" fontAlgn="auto">
              <a:spcBef>
                <a:spcPts val="0"/>
              </a:spcBef>
              <a:spcAft>
                <a:spcPts val="0"/>
              </a:spcAft>
              <a:buSzPct val="100000"/>
            </a:pPr>
            <a:r>
              <a:rPr kumimoji="1" lang="ja-JP" altLang="en-US" sz="1050" b="1" u="sng" dirty="0">
                <a:latin typeface="+mn-lt"/>
                <a:cs typeface="+mn-cs"/>
              </a:rPr>
              <a:t>担当者名</a:t>
            </a:r>
            <a:endParaRPr kumimoji="1" lang="en-US" altLang="ja-JP" sz="1050" b="1" u="sng" dirty="0">
              <a:latin typeface="+mn-lt"/>
              <a:cs typeface="+mn-cs"/>
            </a:endParaRPr>
          </a:p>
          <a:p>
            <a:pPr defTabSz="990564" fontAlgn="auto">
              <a:spcBef>
                <a:spcPts val="0"/>
              </a:spcBef>
              <a:spcAft>
                <a:spcPts val="0"/>
              </a:spcAft>
              <a:buSzPct val="100000"/>
            </a:pPr>
            <a:endParaRPr kumimoji="1" lang="en-US" altLang="ja-JP" sz="1050" dirty="0">
              <a:latin typeface="+mn-lt"/>
              <a:cs typeface="+mn-cs"/>
            </a:endParaRPr>
          </a:p>
          <a:p>
            <a:pPr defTabSz="990564" fontAlgn="auto">
              <a:spcBef>
                <a:spcPts val="0"/>
              </a:spcBef>
              <a:spcAft>
                <a:spcPts val="0"/>
              </a:spcAft>
              <a:buSzPct val="100000"/>
            </a:pPr>
            <a:r>
              <a:rPr kumimoji="1" lang="ja-JP" altLang="en-US" sz="1050" b="1" u="sng" dirty="0">
                <a:latin typeface="+mn-lt"/>
                <a:cs typeface="+mn-cs"/>
              </a:rPr>
              <a:t>連絡先（電話・メール）</a:t>
            </a:r>
            <a:endParaRPr kumimoji="1" lang="en-US" altLang="ja-JP" sz="1050" b="1" u="sng" dirty="0">
              <a:latin typeface="+mn-lt"/>
              <a:cs typeface="+mn-cs"/>
            </a:endParaRPr>
          </a:p>
          <a:p>
            <a:pPr defTabSz="990564" fontAlgn="auto">
              <a:spcBef>
                <a:spcPts val="0"/>
              </a:spcBef>
              <a:spcAft>
                <a:spcPts val="0"/>
              </a:spcAft>
              <a:buSzPct val="100000"/>
            </a:pPr>
            <a:endParaRPr kumimoji="1" lang="ja-JP" altLang="en-US" sz="1050" dirty="0">
              <a:latin typeface="+mn-lt"/>
              <a:cs typeface="+mn-cs"/>
            </a:endParaRPr>
          </a:p>
        </p:txBody>
      </p:sp>
      <p:sp>
        <p:nvSpPr>
          <p:cNvPr id="11" name="正方形/長方形 10">
            <a:extLst>
              <a:ext uri="{FF2B5EF4-FFF2-40B4-BE49-F238E27FC236}">
                <a16:creationId xmlns:a16="http://schemas.microsoft.com/office/drawing/2014/main" id="{3A893B0D-745F-5472-8402-10A6DE3D36F4}"/>
              </a:ext>
            </a:extLst>
          </p:cNvPr>
          <p:cNvSpPr/>
          <p:nvPr/>
        </p:nvSpPr>
        <p:spPr>
          <a:xfrm>
            <a:off x="2032017" y="4122788"/>
            <a:ext cx="145617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t>担当部署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担当者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連絡先（電話・メール）</a:t>
            </a:r>
            <a:endParaRPr kumimoji="1" lang="en-US" altLang="ja-JP" sz="1050" b="1" u="sng" dirty="0"/>
          </a:p>
        </p:txBody>
      </p:sp>
      <p:sp>
        <p:nvSpPr>
          <p:cNvPr id="12" name="正方形/長方形 11">
            <a:extLst>
              <a:ext uri="{FF2B5EF4-FFF2-40B4-BE49-F238E27FC236}">
                <a16:creationId xmlns:a16="http://schemas.microsoft.com/office/drawing/2014/main" id="{96EADF50-515E-B518-D798-62FDADD980B7}"/>
              </a:ext>
            </a:extLst>
          </p:cNvPr>
          <p:cNvSpPr/>
          <p:nvPr/>
        </p:nvSpPr>
        <p:spPr>
          <a:xfrm>
            <a:off x="2032017" y="3026941"/>
            <a:ext cx="145617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t>担当部署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担当者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連絡先（電話・メール）</a:t>
            </a:r>
            <a:endParaRPr kumimoji="1" lang="en-US" altLang="ja-JP" sz="1050" b="1" u="sng" dirty="0"/>
          </a:p>
        </p:txBody>
      </p:sp>
      <p:sp>
        <p:nvSpPr>
          <p:cNvPr id="13" name="正方形/長方形 12">
            <a:extLst>
              <a:ext uri="{FF2B5EF4-FFF2-40B4-BE49-F238E27FC236}">
                <a16:creationId xmlns:a16="http://schemas.microsoft.com/office/drawing/2014/main" id="{2D6B06BD-6D9A-894C-E959-96562F4FD6E9}"/>
              </a:ext>
            </a:extLst>
          </p:cNvPr>
          <p:cNvSpPr/>
          <p:nvPr/>
        </p:nvSpPr>
        <p:spPr>
          <a:xfrm>
            <a:off x="2032017" y="5224872"/>
            <a:ext cx="145617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t>担当部署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担当者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連絡先（電話・メール）</a:t>
            </a:r>
            <a:endParaRPr kumimoji="1" lang="en-US" altLang="ja-JP" sz="1050" b="1" u="sng" dirty="0"/>
          </a:p>
        </p:txBody>
      </p:sp>
      <p:sp>
        <p:nvSpPr>
          <p:cNvPr id="16" name="正方形/長方形 15">
            <a:extLst>
              <a:ext uri="{FF2B5EF4-FFF2-40B4-BE49-F238E27FC236}">
                <a16:creationId xmlns:a16="http://schemas.microsoft.com/office/drawing/2014/main" id="{2A7BE7FA-95A7-739B-B205-E9228FFC9844}"/>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dirty="0">
                <a:solidFill>
                  <a:srgbClr val="C00000"/>
                </a:solidFill>
                <a:latin typeface="+mn-ea"/>
                <a:cs typeface="+mn-cs"/>
              </a:rPr>
              <a:t>※</a:t>
            </a:r>
            <a:r>
              <a:rPr kumimoji="1" lang="ja-JP" altLang="en-US" sz="1050" b="0" i="0" u="none" strike="noStrike" kern="1200" cap="none" spc="0" normalizeH="0" baseline="0" noProof="0" dirty="0">
                <a:ln>
                  <a:noFill/>
                </a:ln>
                <a:solidFill>
                  <a:srgbClr val="C00000"/>
                </a:solidFill>
                <a:effectLst/>
                <a:uLnTx/>
                <a:uFillTx/>
                <a:latin typeface="+mn-ea"/>
                <a:cs typeface="+mn-cs"/>
              </a:rPr>
              <a:t>欄が不足する場合は、適宜レイアウト・枚数を追加しご記入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1975620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186ED-F2E7-7EC2-8293-FD45B677F22A}"/>
            </a:ext>
          </a:extLst>
        </p:cNvPr>
        <p:cNvGrpSpPr/>
        <p:nvPr/>
      </p:nvGrpSpPr>
      <p:grpSpPr>
        <a:xfrm>
          <a:off x="0" y="0"/>
          <a:ext cx="0" cy="0"/>
          <a:chOff x="0" y="0"/>
          <a:chExt cx="0" cy="0"/>
        </a:xfrm>
      </p:grpSpPr>
      <p:sp>
        <p:nvSpPr>
          <p:cNvPr id="70" name="正方形/長方形 69">
            <a:extLst>
              <a:ext uri="{FF2B5EF4-FFF2-40B4-BE49-F238E27FC236}">
                <a16:creationId xmlns:a16="http://schemas.microsoft.com/office/drawing/2014/main" id="{1028731A-B1A2-D80A-1C2B-1C2A2CF1BED8}"/>
              </a:ext>
            </a:extLst>
          </p:cNvPr>
          <p:cNvSpPr/>
          <p:nvPr/>
        </p:nvSpPr>
        <p:spPr bwMode="gray">
          <a:xfrm>
            <a:off x="132712" y="547975"/>
            <a:ext cx="5325113"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証実験の実施にあたって協力が必要なステークホルダーおよび調整状況</a:t>
            </a:r>
            <a:endParaRPr kumimoji="1" lang="en-US" altLang="ja-JP" sz="1200" b="1" dirty="0">
              <a:latin typeface="+mj-ea"/>
              <a:ea typeface="+mj-ea"/>
              <a:cs typeface="+mn-cs"/>
            </a:endParaRPr>
          </a:p>
        </p:txBody>
      </p:sp>
      <p:sp>
        <p:nvSpPr>
          <p:cNvPr id="2" name="Slide Number Placeholder 1">
            <a:extLst>
              <a:ext uri="{FF2B5EF4-FFF2-40B4-BE49-F238E27FC236}">
                <a16:creationId xmlns:a16="http://schemas.microsoft.com/office/drawing/2014/main" id="{8D957CCD-81C3-AC37-7922-70B4A81E0C38}"/>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a:p>
        </p:txBody>
      </p:sp>
      <p:sp>
        <p:nvSpPr>
          <p:cNvPr id="4" name="テキスト ボックス 3">
            <a:extLst>
              <a:ext uri="{FF2B5EF4-FFF2-40B4-BE49-F238E27FC236}">
                <a16:creationId xmlns:a16="http://schemas.microsoft.com/office/drawing/2014/main" id="{8DD5B331-DFDC-2D40-D64D-2BC6076524D3}"/>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２．実施体制④</a:t>
            </a:r>
          </a:p>
        </p:txBody>
      </p:sp>
      <p:sp>
        <p:nvSpPr>
          <p:cNvPr id="41" name="正方形/長方形 40">
            <a:extLst>
              <a:ext uri="{FF2B5EF4-FFF2-40B4-BE49-F238E27FC236}">
                <a16:creationId xmlns:a16="http://schemas.microsoft.com/office/drawing/2014/main" id="{A9A876C8-F096-BA14-CB5D-D3EE7DB72C02}"/>
              </a:ext>
            </a:extLst>
          </p:cNvPr>
          <p:cNvSpPr/>
          <p:nvPr/>
        </p:nvSpPr>
        <p:spPr>
          <a:xfrm>
            <a:off x="597600" y="1585874"/>
            <a:ext cx="1358155" cy="283463"/>
          </a:xfrm>
          <a:prstGeom prst="rect">
            <a:avLst/>
          </a:prstGeom>
          <a:solidFill>
            <a:schemeClr val="tx2"/>
          </a:solidFill>
          <a:ln w="1905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団体名</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42" name="正方形/長方形 41">
            <a:extLst>
              <a:ext uri="{FF2B5EF4-FFF2-40B4-BE49-F238E27FC236}">
                <a16:creationId xmlns:a16="http://schemas.microsoft.com/office/drawing/2014/main" id="{68CEA2AA-FF24-78A7-D185-6BFDDBD7B1A4}"/>
              </a:ext>
            </a:extLst>
          </p:cNvPr>
          <p:cNvSpPr/>
          <p:nvPr/>
        </p:nvSpPr>
        <p:spPr>
          <a:xfrm>
            <a:off x="3575222" y="1585874"/>
            <a:ext cx="2120709" cy="283463"/>
          </a:xfrm>
          <a:prstGeom prst="rect">
            <a:avLst/>
          </a:prstGeom>
          <a:solidFill>
            <a:schemeClr val="tx2"/>
          </a:solidFill>
          <a:ln w="1905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実施にあたり主に協力要請・</a:t>
            </a:r>
            <a:endParaRPr kumimoji="1" lang="en-US" altLang="ja-JP" sz="1050" b="1" kern="0" dirty="0">
              <a:solidFill>
                <a:schemeClr val="bg1"/>
              </a:solidFill>
              <a:latin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調整を要する事項</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43" name="正方形/長方形 42">
            <a:extLst>
              <a:ext uri="{FF2B5EF4-FFF2-40B4-BE49-F238E27FC236}">
                <a16:creationId xmlns:a16="http://schemas.microsoft.com/office/drawing/2014/main" id="{ED09587D-6BB1-6264-D71F-F00C3BEB050C}"/>
              </a:ext>
            </a:extLst>
          </p:cNvPr>
          <p:cNvSpPr/>
          <p:nvPr/>
        </p:nvSpPr>
        <p:spPr>
          <a:xfrm>
            <a:off x="5782964" y="1585874"/>
            <a:ext cx="1249686" cy="283463"/>
          </a:xfrm>
          <a:prstGeom prst="rect">
            <a:avLst/>
          </a:prstGeom>
          <a:solidFill>
            <a:schemeClr val="accent5"/>
          </a:solidFill>
          <a:ln w="190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調整状況</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grpSp>
        <p:nvGrpSpPr>
          <p:cNvPr id="94" name="グループ化 93">
            <a:extLst>
              <a:ext uri="{FF2B5EF4-FFF2-40B4-BE49-F238E27FC236}">
                <a16:creationId xmlns:a16="http://schemas.microsoft.com/office/drawing/2014/main" id="{304B5A44-54B6-1CCE-239D-AE2572C74ED1}"/>
              </a:ext>
            </a:extLst>
          </p:cNvPr>
          <p:cNvGrpSpPr/>
          <p:nvPr/>
        </p:nvGrpSpPr>
        <p:grpSpPr>
          <a:xfrm>
            <a:off x="7632658" y="1585874"/>
            <a:ext cx="2082842" cy="2671079"/>
            <a:chOff x="7708858" y="4134581"/>
            <a:chExt cx="2082842" cy="2671079"/>
          </a:xfrm>
        </p:grpSpPr>
        <p:sp>
          <p:nvSpPr>
            <p:cNvPr id="93" name="正方形/長方形 92">
              <a:extLst>
                <a:ext uri="{FF2B5EF4-FFF2-40B4-BE49-F238E27FC236}">
                  <a16:creationId xmlns:a16="http://schemas.microsoft.com/office/drawing/2014/main" id="{35C85268-DFDD-28C4-1E8B-B91EFDA976AB}"/>
                </a:ext>
              </a:extLst>
            </p:cNvPr>
            <p:cNvSpPr/>
            <p:nvPr/>
          </p:nvSpPr>
          <p:spPr bwMode="gray">
            <a:xfrm>
              <a:off x="7708858" y="4134581"/>
              <a:ext cx="2082842" cy="2671079"/>
            </a:xfrm>
            <a:prstGeom prst="rect">
              <a:avLst/>
            </a:prstGeom>
            <a:solidFill>
              <a:schemeClr val="tx2">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4" name="直線矢印コネクタ 83">
              <a:extLst>
                <a:ext uri="{FF2B5EF4-FFF2-40B4-BE49-F238E27FC236}">
                  <a16:creationId xmlns:a16="http://schemas.microsoft.com/office/drawing/2014/main" id="{979A05C9-7895-D78D-7871-4DBA39E36D7C}"/>
                </a:ext>
              </a:extLst>
            </p:cNvPr>
            <p:cNvCxnSpPr>
              <a:cxnSpLocks/>
            </p:cNvCxnSpPr>
            <p:nvPr/>
          </p:nvCxnSpPr>
          <p:spPr bwMode="gray">
            <a:xfrm>
              <a:off x="8026445" y="5086173"/>
              <a:ext cx="0" cy="1287957"/>
            </a:xfrm>
            <a:prstGeom prst="straightConnector1">
              <a:avLst/>
            </a:prstGeom>
            <a:ln w="3810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9DEA4704-060E-17DF-A294-261C2A94BBC6}"/>
                </a:ext>
              </a:extLst>
            </p:cNvPr>
            <p:cNvSpPr txBox="1"/>
            <p:nvPr/>
          </p:nvSpPr>
          <p:spPr bwMode="gray">
            <a:xfrm>
              <a:off x="7785121" y="5336008"/>
              <a:ext cx="184666" cy="769441"/>
            </a:xfrm>
            <a:prstGeom prst="rect">
              <a:avLst/>
            </a:prstGeom>
            <a:noFill/>
          </p:spPr>
          <p:txBody>
            <a:bodyPr vert="eaVert"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accent5"/>
                  </a:solidFill>
                  <a:effectLst/>
                  <a:uLnTx/>
                  <a:uFillTx/>
                  <a:latin typeface="+mn-lt"/>
                  <a:ea typeface="+mn-ea"/>
                  <a:cs typeface="+mn-cs"/>
                </a:rPr>
                <a:t>調整レベル</a:t>
              </a:r>
            </a:p>
          </p:txBody>
        </p:sp>
        <p:sp>
          <p:nvSpPr>
            <p:cNvPr id="86" name="テキスト ボックス 85">
              <a:extLst>
                <a:ext uri="{FF2B5EF4-FFF2-40B4-BE49-F238E27FC236}">
                  <a16:creationId xmlns:a16="http://schemas.microsoft.com/office/drawing/2014/main" id="{560409D3-2415-FA5E-79DB-D16DF0A6D718}"/>
                </a:ext>
              </a:extLst>
            </p:cNvPr>
            <p:cNvSpPr txBox="1"/>
            <p:nvPr/>
          </p:nvSpPr>
          <p:spPr bwMode="gray">
            <a:xfrm>
              <a:off x="7877454" y="4873946"/>
              <a:ext cx="282129"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accent5"/>
                  </a:solidFill>
                  <a:latin typeface="+mn-lt"/>
                  <a:cs typeface="+mn-cs"/>
                </a:rPr>
                <a:t>高い</a:t>
              </a:r>
              <a:endParaRPr kumimoji="1" lang="ja-JP" altLang="en-US" sz="1200" b="1" i="0" u="none" strike="noStrike" kern="1200" cap="none" spc="0" normalizeH="0" baseline="0" noProof="0" dirty="0">
                <a:ln>
                  <a:noFill/>
                </a:ln>
                <a:solidFill>
                  <a:schemeClr val="accent5"/>
                </a:solidFill>
                <a:effectLst/>
                <a:uLnTx/>
                <a:uFillTx/>
                <a:latin typeface="+mn-lt"/>
                <a:ea typeface="+mn-ea"/>
                <a:cs typeface="+mn-cs"/>
              </a:endParaRPr>
            </a:p>
          </p:txBody>
        </p:sp>
        <p:sp>
          <p:nvSpPr>
            <p:cNvPr id="87" name="テキスト ボックス 86">
              <a:extLst>
                <a:ext uri="{FF2B5EF4-FFF2-40B4-BE49-F238E27FC236}">
                  <a16:creationId xmlns:a16="http://schemas.microsoft.com/office/drawing/2014/main" id="{CADB034A-4712-C6EF-4367-ECFB64B486ED}"/>
                </a:ext>
              </a:extLst>
            </p:cNvPr>
            <p:cNvSpPr txBox="1"/>
            <p:nvPr/>
          </p:nvSpPr>
          <p:spPr bwMode="gray">
            <a:xfrm>
              <a:off x="7877454" y="6412203"/>
              <a:ext cx="282129"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accent5"/>
                  </a:solidFill>
                  <a:latin typeface="+mn-lt"/>
                  <a:cs typeface="+mn-cs"/>
                </a:rPr>
                <a:t>低い</a:t>
              </a:r>
              <a:endParaRPr kumimoji="1" lang="ja-JP" altLang="en-US" sz="1200" b="1" i="0" u="none" strike="noStrike" kern="1200" cap="none" spc="0" normalizeH="0" baseline="0" noProof="0" dirty="0">
                <a:ln>
                  <a:noFill/>
                </a:ln>
                <a:solidFill>
                  <a:schemeClr val="accent5"/>
                </a:solidFill>
                <a:effectLst/>
                <a:uLnTx/>
                <a:uFillTx/>
                <a:latin typeface="+mn-lt"/>
                <a:ea typeface="+mn-ea"/>
                <a:cs typeface="+mn-cs"/>
              </a:endParaRPr>
            </a:p>
          </p:txBody>
        </p:sp>
        <p:sp>
          <p:nvSpPr>
            <p:cNvPr id="88" name="正方形/長方形 87">
              <a:extLst>
                <a:ext uri="{FF2B5EF4-FFF2-40B4-BE49-F238E27FC236}">
                  <a16:creationId xmlns:a16="http://schemas.microsoft.com/office/drawing/2014/main" id="{162C49C1-E4F7-6268-6742-88A583052C06}"/>
                </a:ext>
              </a:extLst>
            </p:cNvPr>
            <p:cNvSpPr/>
            <p:nvPr/>
          </p:nvSpPr>
          <p:spPr bwMode="gray">
            <a:xfrm>
              <a:off x="8223280" y="4738384"/>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具体的な協力内容</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について承諾済</a:t>
              </a:r>
            </a:p>
          </p:txBody>
        </p:sp>
        <p:sp>
          <p:nvSpPr>
            <p:cNvPr id="89" name="正方形/長方形 88">
              <a:extLst>
                <a:ext uri="{FF2B5EF4-FFF2-40B4-BE49-F238E27FC236}">
                  <a16:creationId xmlns:a16="http://schemas.microsoft.com/office/drawing/2014/main" id="{A8405BE8-2936-ADB8-8E6B-985F45259B33}"/>
                </a:ext>
              </a:extLst>
            </p:cNvPr>
            <p:cNvSpPr/>
            <p:nvPr/>
          </p:nvSpPr>
          <p:spPr bwMode="gray">
            <a:xfrm>
              <a:off x="8223280" y="5259281"/>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dirty="0"/>
                <a:t>具体的な協力内容</a:t>
              </a:r>
              <a:endParaRPr kumimoji="1" lang="en-US" altLang="ja-JP" sz="1000" dirty="0"/>
            </a:p>
            <a:p>
              <a:pPr algn="ctr" defTabSz="990564" fontAlgn="auto">
                <a:spcBef>
                  <a:spcPts val="0"/>
                </a:spcBef>
                <a:spcAft>
                  <a:spcPts val="0"/>
                </a:spcAft>
                <a:buSzPct val="100000"/>
              </a:pPr>
              <a:r>
                <a:rPr kumimoji="1" lang="ja-JP" altLang="en-US" sz="1000" dirty="0"/>
                <a:t>の協議中</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90" name="正方形/長方形 89">
              <a:extLst>
                <a:ext uri="{FF2B5EF4-FFF2-40B4-BE49-F238E27FC236}">
                  <a16:creationId xmlns:a16="http://schemas.microsoft.com/office/drawing/2014/main" id="{FC2F1DD6-09E4-AA3A-4F39-DE8C538F6525}"/>
                </a:ext>
              </a:extLst>
            </p:cNvPr>
            <p:cNvSpPr/>
            <p:nvPr/>
          </p:nvSpPr>
          <p:spPr bwMode="gray">
            <a:xfrm>
              <a:off x="8223280" y="5764077"/>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dirty="0"/>
                <a:t>具体的な協力内容の協議に至っていないが打診済</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91" name="正方形/長方形 90">
              <a:extLst>
                <a:ext uri="{FF2B5EF4-FFF2-40B4-BE49-F238E27FC236}">
                  <a16:creationId xmlns:a16="http://schemas.microsoft.com/office/drawing/2014/main" id="{5E55DBB8-C5B9-D759-0338-BF9C837DB4F4}"/>
                </a:ext>
              </a:extLst>
            </p:cNvPr>
            <p:cNvSpPr/>
            <p:nvPr/>
          </p:nvSpPr>
          <p:spPr bwMode="gray">
            <a:xfrm>
              <a:off x="8223280" y="6283519"/>
              <a:ext cx="1467396" cy="448292"/>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dirty="0"/>
                <a:t>打診前</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grpSp>
      <p:cxnSp>
        <p:nvCxnSpPr>
          <p:cNvPr id="96" name="コネクタ: カギ線 95">
            <a:extLst>
              <a:ext uri="{FF2B5EF4-FFF2-40B4-BE49-F238E27FC236}">
                <a16:creationId xmlns:a16="http://schemas.microsoft.com/office/drawing/2014/main" id="{7F951B3E-FBF3-7EB6-6D80-E3A37E95DB44}"/>
              </a:ext>
            </a:extLst>
          </p:cNvPr>
          <p:cNvCxnSpPr>
            <a:cxnSpLocks/>
            <a:stCxn id="93" idx="1"/>
            <a:endCxn id="71" idx="3"/>
          </p:cNvCxnSpPr>
          <p:nvPr/>
        </p:nvCxnSpPr>
        <p:spPr bwMode="gray">
          <a:xfrm rot="10800000">
            <a:off x="7032648" y="2418902"/>
            <a:ext cx="600011" cy="502513"/>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7" name="コネクタ: カギ線 96">
            <a:extLst>
              <a:ext uri="{FF2B5EF4-FFF2-40B4-BE49-F238E27FC236}">
                <a16:creationId xmlns:a16="http://schemas.microsoft.com/office/drawing/2014/main" id="{585C9D7B-48CA-FA05-ECAE-FB5CED33E810}"/>
              </a:ext>
            </a:extLst>
          </p:cNvPr>
          <p:cNvCxnSpPr>
            <a:cxnSpLocks/>
            <a:stCxn id="93" idx="1"/>
            <a:endCxn id="75" idx="3"/>
          </p:cNvCxnSpPr>
          <p:nvPr/>
        </p:nvCxnSpPr>
        <p:spPr bwMode="gray">
          <a:xfrm rot="10800000" flipV="1">
            <a:off x="7032648" y="2921413"/>
            <a:ext cx="600011" cy="589115"/>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コネクタ: カギ線 99">
            <a:extLst>
              <a:ext uri="{FF2B5EF4-FFF2-40B4-BE49-F238E27FC236}">
                <a16:creationId xmlns:a16="http://schemas.microsoft.com/office/drawing/2014/main" id="{F6008D97-B4E4-E643-89D3-F625FBB2FE72}"/>
              </a:ext>
            </a:extLst>
          </p:cNvPr>
          <p:cNvCxnSpPr>
            <a:cxnSpLocks/>
            <a:stCxn id="93" idx="1"/>
            <a:endCxn id="78" idx="3"/>
          </p:cNvCxnSpPr>
          <p:nvPr/>
        </p:nvCxnSpPr>
        <p:spPr bwMode="gray">
          <a:xfrm rot="10800000" flipV="1">
            <a:off x="7032648" y="2921414"/>
            <a:ext cx="600011" cy="168167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コネクタ: カギ線 102">
            <a:extLst>
              <a:ext uri="{FF2B5EF4-FFF2-40B4-BE49-F238E27FC236}">
                <a16:creationId xmlns:a16="http://schemas.microsoft.com/office/drawing/2014/main" id="{8AD483AC-BE91-FB65-2194-6D9F1E5D5C7A}"/>
              </a:ext>
            </a:extLst>
          </p:cNvPr>
          <p:cNvCxnSpPr>
            <a:cxnSpLocks/>
            <a:stCxn id="93" idx="1"/>
            <a:endCxn id="81" idx="3"/>
          </p:cNvCxnSpPr>
          <p:nvPr/>
        </p:nvCxnSpPr>
        <p:spPr bwMode="gray">
          <a:xfrm rot="10800000" flipV="1">
            <a:off x="7032648" y="2921413"/>
            <a:ext cx="600011" cy="2780471"/>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4" name="正方形/長方形 43">
            <a:extLst>
              <a:ext uri="{FF2B5EF4-FFF2-40B4-BE49-F238E27FC236}">
                <a16:creationId xmlns:a16="http://schemas.microsoft.com/office/drawing/2014/main" id="{7703C5AF-C938-3F97-B12C-03890A4AF666}"/>
              </a:ext>
            </a:extLst>
          </p:cNvPr>
          <p:cNvSpPr/>
          <p:nvPr/>
        </p:nvSpPr>
        <p:spPr>
          <a:xfrm>
            <a:off x="597600" y="1905037"/>
            <a:ext cx="1358154" cy="10080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45" name="正方形/長方形 44">
            <a:extLst>
              <a:ext uri="{FF2B5EF4-FFF2-40B4-BE49-F238E27FC236}">
                <a16:creationId xmlns:a16="http://schemas.microsoft.com/office/drawing/2014/main" id="{C05BC922-EDCE-B9B7-F490-C9D1223F7491}"/>
              </a:ext>
            </a:extLst>
          </p:cNvPr>
          <p:cNvSpPr/>
          <p:nvPr/>
        </p:nvSpPr>
        <p:spPr>
          <a:xfrm>
            <a:off x="3575222" y="1905038"/>
            <a:ext cx="2120709" cy="10080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dirty="0">
              <a:solidFill>
                <a:prstClr val="black"/>
              </a:solidFill>
              <a:latin typeface="+mn-lt"/>
              <a:cs typeface="+mn-cs"/>
            </a:endParaRPr>
          </a:p>
        </p:txBody>
      </p:sp>
      <p:sp>
        <p:nvSpPr>
          <p:cNvPr id="71" name="正方形/長方形 70">
            <a:extLst>
              <a:ext uri="{FF2B5EF4-FFF2-40B4-BE49-F238E27FC236}">
                <a16:creationId xmlns:a16="http://schemas.microsoft.com/office/drawing/2014/main" id="{A72F6346-B1F2-7095-CCD2-9CE4B62F3CC9}"/>
              </a:ext>
            </a:extLst>
          </p:cNvPr>
          <p:cNvSpPr/>
          <p:nvPr/>
        </p:nvSpPr>
        <p:spPr>
          <a:xfrm>
            <a:off x="5782962" y="1914901"/>
            <a:ext cx="1249685" cy="1008000"/>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18" name="正方形/長方形 117">
            <a:extLst>
              <a:ext uri="{FF2B5EF4-FFF2-40B4-BE49-F238E27FC236}">
                <a16:creationId xmlns:a16="http://schemas.microsoft.com/office/drawing/2014/main" id="{BC501DBF-7B28-CA9B-D9D9-0C81CEEB7C94}"/>
              </a:ext>
            </a:extLst>
          </p:cNvPr>
          <p:cNvSpPr/>
          <p:nvPr/>
        </p:nvSpPr>
        <p:spPr bwMode="gray">
          <a:xfrm>
            <a:off x="328887" y="1914901"/>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団体①</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4B6359B5-BDC7-8701-BAD2-62AE7E434179}"/>
              </a:ext>
            </a:extLst>
          </p:cNvPr>
          <p:cNvSpPr/>
          <p:nvPr/>
        </p:nvSpPr>
        <p:spPr>
          <a:xfrm>
            <a:off x="597600" y="4096479"/>
            <a:ext cx="135815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77" name="正方形/長方形 76">
            <a:extLst>
              <a:ext uri="{FF2B5EF4-FFF2-40B4-BE49-F238E27FC236}">
                <a16:creationId xmlns:a16="http://schemas.microsoft.com/office/drawing/2014/main" id="{A85783D6-5396-D089-5D1F-B29652A0B97A}"/>
              </a:ext>
            </a:extLst>
          </p:cNvPr>
          <p:cNvSpPr/>
          <p:nvPr/>
        </p:nvSpPr>
        <p:spPr>
          <a:xfrm>
            <a:off x="3575222" y="4096222"/>
            <a:ext cx="2120709" cy="1007158"/>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78" name="正方形/長方形 77">
            <a:extLst>
              <a:ext uri="{FF2B5EF4-FFF2-40B4-BE49-F238E27FC236}">
                <a16:creationId xmlns:a16="http://schemas.microsoft.com/office/drawing/2014/main" id="{5E76D757-F560-4848-86E3-FED46595E114}"/>
              </a:ext>
            </a:extLst>
          </p:cNvPr>
          <p:cNvSpPr/>
          <p:nvPr/>
        </p:nvSpPr>
        <p:spPr>
          <a:xfrm>
            <a:off x="5782962" y="4099509"/>
            <a:ext cx="1249685" cy="1007158"/>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19" name="正方形/長方形 118">
            <a:extLst>
              <a:ext uri="{FF2B5EF4-FFF2-40B4-BE49-F238E27FC236}">
                <a16:creationId xmlns:a16="http://schemas.microsoft.com/office/drawing/2014/main" id="{9946071B-DB83-5CE5-A839-3F89025F2106}"/>
              </a:ext>
            </a:extLst>
          </p:cNvPr>
          <p:cNvSpPr/>
          <p:nvPr/>
        </p:nvSpPr>
        <p:spPr bwMode="gray">
          <a:xfrm>
            <a:off x="328887" y="4104476"/>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rPr>
              <a:t>団体③</a:t>
            </a:r>
          </a:p>
        </p:txBody>
      </p:sp>
      <p:sp>
        <p:nvSpPr>
          <p:cNvPr id="73" name="正方形/長方形 72">
            <a:extLst>
              <a:ext uri="{FF2B5EF4-FFF2-40B4-BE49-F238E27FC236}">
                <a16:creationId xmlns:a16="http://schemas.microsoft.com/office/drawing/2014/main" id="{202DC7F0-0430-D4F7-1B0C-D488EBDA195B}"/>
              </a:ext>
            </a:extLst>
          </p:cNvPr>
          <p:cNvSpPr/>
          <p:nvPr/>
        </p:nvSpPr>
        <p:spPr>
          <a:xfrm>
            <a:off x="597600" y="3000632"/>
            <a:ext cx="135815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74" name="正方形/長方形 73">
            <a:extLst>
              <a:ext uri="{FF2B5EF4-FFF2-40B4-BE49-F238E27FC236}">
                <a16:creationId xmlns:a16="http://schemas.microsoft.com/office/drawing/2014/main" id="{08063FB9-ED94-A3AE-4628-237E82F110CC}"/>
              </a:ext>
            </a:extLst>
          </p:cNvPr>
          <p:cNvSpPr/>
          <p:nvPr/>
        </p:nvSpPr>
        <p:spPr>
          <a:xfrm>
            <a:off x="3575222" y="3000375"/>
            <a:ext cx="2120709" cy="1007158"/>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75" name="正方形/長方形 74">
            <a:extLst>
              <a:ext uri="{FF2B5EF4-FFF2-40B4-BE49-F238E27FC236}">
                <a16:creationId xmlns:a16="http://schemas.microsoft.com/office/drawing/2014/main" id="{353AD986-8B79-5A5A-BDCB-DD74B300786F}"/>
              </a:ext>
            </a:extLst>
          </p:cNvPr>
          <p:cNvSpPr/>
          <p:nvPr/>
        </p:nvSpPr>
        <p:spPr>
          <a:xfrm>
            <a:off x="5782962" y="3006950"/>
            <a:ext cx="1249685" cy="1007158"/>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20" name="正方形/長方形 119">
            <a:extLst>
              <a:ext uri="{FF2B5EF4-FFF2-40B4-BE49-F238E27FC236}">
                <a16:creationId xmlns:a16="http://schemas.microsoft.com/office/drawing/2014/main" id="{F2F1F5E0-19C5-66C4-041C-2D5C1E07EBF8}"/>
              </a:ext>
            </a:extLst>
          </p:cNvPr>
          <p:cNvSpPr/>
          <p:nvPr/>
        </p:nvSpPr>
        <p:spPr bwMode="gray">
          <a:xfrm>
            <a:off x="328887" y="3008266"/>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rPr>
              <a:t>団体②</a:t>
            </a:r>
          </a:p>
        </p:txBody>
      </p:sp>
      <p:sp>
        <p:nvSpPr>
          <p:cNvPr id="79" name="正方形/長方形 78">
            <a:extLst>
              <a:ext uri="{FF2B5EF4-FFF2-40B4-BE49-F238E27FC236}">
                <a16:creationId xmlns:a16="http://schemas.microsoft.com/office/drawing/2014/main" id="{BB7B11DE-CB64-D641-098B-602155A81D9F}"/>
              </a:ext>
            </a:extLst>
          </p:cNvPr>
          <p:cNvSpPr/>
          <p:nvPr/>
        </p:nvSpPr>
        <p:spPr>
          <a:xfrm>
            <a:off x="597600" y="5198563"/>
            <a:ext cx="135815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80" name="正方形/長方形 79">
            <a:extLst>
              <a:ext uri="{FF2B5EF4-FFF2-40B4-BE49-F238E27FC236}">
                <a16:creationId xmlns:a16="http://schemas.microsoft.com/office/drawing/2014/main" id="{AA9B417C-A46F-6FBB-031C-D100A3CF16C5}"/>
              </a:ext>
            </a:extLst>
          </p:cNvPr>
          <p:cNvSpPr/>
          <p:nvPr/>
        </p:nvSpPr>
        <p:spPr>
          <a:xfrm>
            <a:off x="3575222" y="5198306"/>
            <a:ext cx="2120709" cy="1007158"/>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lt"/>
              <a:cs typeface="+mn-cs"/>
            </a:endParaRPr>
          </a:p>
        </p:txBody>
      </p:sp>
      <p:sp>
        <p:nvSpPr>
          <p:cNvPr id="81" name="正方形/長方形 80">
            <a:extLst>
              <a:ext uri="{FF2B5EF4-FFF2-40B4-BE49-F238E27FC236}">
                <a16:creationId xmlns:a16="http://schemas.microsoft.com/office/drawing/2014/main" id="{465DF862-A619-7651-48D9-AA314BB38BE2}"/>
              </a:ext>
            </a:extLst>
          </p:cNvPr>
          <p:cNvSpPr/>
          <p:nvPr/>
        </p:nvSpPr>
        <p:spPr>
          <a:xfrm>
            <a:off x="5782962" y="5198306"/>
            <a:ext cx="1249685" cy="1007158"/>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21" name="正方形/長方形 120">
            <a:extLst>
              <a:ext uri="{FF2B5EF4-FFF2-40B4-BE49-F238E27FC236}">
                <a16:creationId xmlns:a16="http://schemas.microsoft.com/office/drawing/2014/main" id="{E1693AFF-4A8E-6EE2-C581-0B979259CB68}"/>
              </a:ext>
            </a:extLst>
          </p:cNvPr>
          <p:cNvSpPr/>
          <p:nvPr/>
        </p:nvSpPr>
        <p:spPr bwMode="gray">
          <a:xfrm>
            <a:off x="328887" y="5206925"/>
            <a:ext cx="210825" cy="1008000"/>
          </a:xfrm>
          <a:prstGeom prst="rect">
            <a:avLst/>
          </a:prstGeom>
          <a:solidFill>
            <a:schemeClr val="tx2"/>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rPr>
              <a:t>団体④</a:t>
            </a:r>
          </a:p>
        </p:txBody>
      </p:sp>
      <p:sp>
        <p:nvSpPr>
          <p:cNvPr id="122" name="テキスト ボックス 121">
            <a:extLst>
              <a:ext uri="{FF2B5EF4-FFF2-40B4-BE49-F238E27FC236}">
                <a16:creationId xmlns:a16="http://schemas.microsoft.com/office/drawing/2014/main" id="{C71B9353-9CCE-84C4-2CBA-E99855399110}"/>
              </a:ext>
            </a:extLst>
          </p:cNvPr>
          <p:cNvSpPr txBox="1"/>
          <p:nvPr/>
        </p:nvSpPr>
        <p:spPr bwMode="gray">
          <a:xfrm>
            <a:off x="7763745" y="1696506"/>
            <a:ext cx="1824217" cy="369332"/>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sng" strike="noStrike" kern="1200" cap="none" spc="0" normalizeH="0" baseline="0" noProof="0" dirty="0">
                <a:ln>
                  <a:noFill/>
                </a:ln>
                <a:solidFill>
                  <a:prstClr val="black"/>
                </a:solidFill>
                <a:effectLst/>
                <a:uLnTx/>
                <a:uFillTx/>
                <a:latin typeface="+mn-lt"/>
                <a:ea typeface="+mn-ea"/>
                <a:cs typeface="+mn-cs"/>
              </a:rPr>
              <a:t>下記のいずれかの調整状況を</a:t>
            </a:r>
            <a:endParaRPr kumimoji="1" lang="en-US" altLang="ja-JP" sz="1200" b="1" i="0" u="sng"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左記に記載すること</a:t>
            </a:r>
            <a:endParaRPr kumimoji="1" lang="ja-JP" altLang="en-US" sz="1200" b="1" i="0" u="sng" strike="noStrike" kern="1200" cap="none" spc="0" normalizeH="0" baseline="0" noProof="0" dirty="0">
              <a:ln>
                <a:noFill/>
              </a:ln>
              <a:solidFill>
                <a:prstClr val="black"/>
              </a:solidFill>
              <a:effectLst/>
              <a:uLnTx/>
              <a:uFillTx/>
              <a:latin typeface="+mn-lt"/>
              <a:ea typeface="+mn-ea"/>
              <a:cs typeface="+mn-cs"/>
            </a:endParaRPr>
          </a:p>
        </p:txBody>
      </p:sp>
      <p:sp>
        <p:nvSpPr>
          <p:cNvPr id="6" name="正方形/長方形 5">
            <a:extLst>
              <a:ext uri="{FF2B5EF4-FFF2-40B4-BE49-F238E27FC236}">
                <a16:creationId xmlns:a16="http://schemas.microsoft.com/office/drawing/2014/main" id="{1AC3C265-3B82-A168-DAC5-14CA528D9036}"/>
              </a:ext>
            </a:extLst>
          </p:cNvPr>
          <p:cNvSpPr/>
          <p:nvPr/>
        </p:nvSpPr>
        <p:spPr bwMode="gray">
          <a:xfrm>
            <a:off x="333306" y="958971"/>
            <a:ext cx="9057829" cy="28155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400"/>
              </a:lnSpc>
              <a:spcBef>
                <a:spcPts val="0"/>
              </a:spcBef>
              <a:spcAft>
                <a:spcPts val="0"/>
              </a:spcAft>
              <a:buSzPct val="100000"/>
            </a:pPr>
            <a:r>
              <a:rPr kumimoji="1" lang="en-US" altLang="ja-JP" sz="1050" b="0" i="0" u="none" strike="noStrike" kern="1200" cap="none" spc="0" normalizeH="0" baseline="0" noProof="0" dirty="0">
                <a:ln>
                  <a:noFill/>
                </a:ln>
                <a:solidFill>
                  <a:prstClr val="black"/>
                </a:solidFill>
                <a:effectLst/>
                <a:uLnTx/>
                <a:uFillTx/>
                <a:latin typeface="+mn-ea"/>
                <a:cs typeface="+mn-cs"/>
              </a:rPr>
              <a:t>※</a:t>
            </a:r>
            <a:r>
              <a:rPr kumimoji="1" lang="ja-JP" altLang="en-US" sz="1050" b="0" i="0" u="none" strike="noStrike" kern="1200" cap="none" spc="0" normalizeH="0" baseline="0" noProof="0" dirty="0">
                <a:ln>
                  <a:noFill/>
                </a:ln>
                <a:solidFill>
                  <a:prstClr val="black"/>
                </a:solidFill>
                <a:effectLst/>
                <a:uLnTx/>
                <a:uFillTx/>
                <a:latin typeface="+mn-ea"/>
                <a:cs typeface="+mn-cs"/>
              </a:rPr>
              <a:t>実施主体ではなく協力団体である団体については下記に記載してください。</a:t>
            </a:r>
            <a:endParaRPr kumimoji="1" lang="en-US" altLang="ja-JP" sz="1050" b="0" i="0" u="none" strike="noStrike" kern="1200" cap="none" spc="0" normalizeH="0" baseline="0" noProof="0" dirty="0">
              <a:ln>
                <a:noFill/>
              </a:ln>
              <a:solidFill>
                <a:prstClr val="black"/>
              </a:solidFill>
              <a:effectLst/>
              <a:uLnTx/>
              <a:uFillTx/>
              <a:latin typeface="+mn-ea"/>
              <a:cs typeface="+mn-cs"/>
            </a:endParaRPr>
          </a:p>
          <a:p>
            <a:pPr marL="180000" indent="-457200" defTabSz="990564" fontAlgn="auto">
              <a:lnSpc>
                <a:spcPts val="1400"/>
              </a:lnSpc>
              <a:spcBef>
                <a:spcPts val="0"/>
              </a:spcBef>
              <a:spcAft>
                <a:spcPts val="0"/>
              </a:spcAft>
              <a:buSzPct val="100000"/>
            </a:pPr>
            <a:r>
              <a:rPr kumimoji="1" lang="en-US" altLang="ja-JP" sz="1050" b="1" u="sng" dirty="0">
                <a:solidFill>
                  <a:prstClr val="black"/>
                </a:solidFill>
                <a:latin typeface="+mn-ea"/>
                <a:cs typeface="+mn-cs"/>
              </a:rPr>
              <a:t>※</a:t>
            </a:r>
            <a:r>
              <a:rPr kumimoji="1" lang="ja-JP" altLang="en-US" sz="1050" b="1" u="sng" dirty="0">
                <a:solidFill>
                  <a:prstClr val="black"/>
                </a:solidFill>
                <a:latin typeface="+mn-ea"/>
              </a:rPr>
              <a:t>下記は</a:t>
            </a:r>
            <a:r>
              <a:rPr kumimoji="1" lang="ja-JP" altLang="en-US" sz="1050" b="1" u="sng" dirty="0">
                <a:solidFill>
                  <a:prstClr val="black"/>
                </a:solidFill>
                <a:latin typeface="+mn-ea"/>
                <a:cs typeface="+mn-cs"/>
              </a:rPr>
              <a:t>県内市町村・本県以外の協力団体について記載してください。</a:t>
            </a:r>
            <a:endParaRPr kumimoji="1" lang="en-US" altLang="ja-JP" sz="1050" b="1" u="sng" dirty="0">
              <a:solidFill>
                <a:prstClr val="black"/>
              </a:solidFill>
              <a:latin typeface="+mn-ea"/>
              <a:cs typeface="+mn-cs"/>
            </a:endParaRPr>
          </a:p>
          <a:p>
            <a:pPr marL="180000" indent="-457200" defTabSz="990564" fontAlgn="auto">
              <a:lnSpc>
                <a:spcPts val="1400"/>
              </a:lnSpc>
              <a:spcBef>
                <a:spcPts val="0"/>
              </a:spcBef>
              <a:spcAft>
                <a:spcPts val="0"/>
              </a:spcAft>
              <a:buSzPct val="100000"/>
            </a:pPr>
            <a:r>
              <a:rPr kumimoji="1" lang="en-US" altLang="ja-JP" sz="1050" b="1" u="sng" dirty="0">
                <a:solidFill>
                  <a:prstClr val="black"/>
                </a:solidFill>
                <a:latin typeface="+mn-ea"/>
              </a:rPr>
              <a:t>※</a:t>
            </a:r>
            <a:r>
              <a:rPr kumimoji="1" lang="ja-JP" altLang="en-US" sz="1050" b="1" u="sng" dirty="0">
                <a:solidFill>
                  <a:prstClr val="black"/>
                </a:solidFill>
                <a:latin typeface="+mn-ea"/>
              </a:rPr>
              <a:t>記載されている団体の数を評価するものではございませんのでご留意ください。</a:t>
            </a:r>
            <a:endParaRPr kumimoji="1" lang="en-US" altLang="ja-JP" sz="1050" b="1" u="sng" dirty="0">
              <a:solidFill>
                <a:prstClr val="black"/>
              </a:solidFill>
              <a:latin typeface="+mn-ea"/>
            </a:endParaRPr>
          </a:p>
        </p:txBody>
      </p:sp>
      <p:sp>
        <p:nvSpPr>
          <p:cNvPr id="9" name="正方形/長方形 8">
            <a:extLst>
              <a:ext uri="{FF2B5EF4-FFF2-40B4-BE49-F238E27FC236}">
                <a16:creationId xmlns:a16="http://schemas.microsoft.com/office/drawing/2014/main" id="{5B0DF894-482D-7FE6-C69E-CAAF803E1F2A}"/>
              </a:ext>
            </a:extLst>
          </p:cNvPr>
          <p:cNvSpPr/>
          <p:nvPr/>
        </p:nvSpPr>
        <p:spPr>
          <a:xfrm>
            <a:off x="2032017" y="1583608"/>
            <a:ext cx="1456175" cy="283463"/>
          </a:xfrm>
          <a:prstGeom prst="rect">
            <a:avLst/>
          </a:prstGeom>
          <a:solidFill>
            <a:schemeClr val="tx2"/>
          </a:solidFill>
          <a:ln w="1905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担当者情報等</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10" name="正方形/長方形 9">
            <a:extLst>
              <a:ext uri="{FF2B5EF4-FFF2-40B4-BE49-F238E27FC236}">
                <a16:creationId xmlns:a16="http://schemas.microsoft.com/office/drawing/2014/main" id="{1D930BF6-A29B-9FDA-D271-103D533C2BC5}"/>
              </a:ext>
            </a:extLst>
          </p:cNvPr>
          <p:cNvSpPr/>
          <p:nvPr/>
        </p:nvSpPr>
        <p:spPr>
          <a:xfrm>
            <a:off x="2032017" y="1902771"/>
            <a:ext cx="1456174" cy="10080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latin typeface="+mn-lt"/>
                <a:cs typeface="+mn-cs"/>
              </a:rPr>
              <a:t>担当部署名</a:t>
            </a:r>
            <a:endParaRPr kumimoji="1" lang="en-US" altLang="ja-JP" sz="1050" b="1" u="sng" dirty="0">
              <a:latin typeface="+mn-lt"/>
              <a:cs typeface="+mn-cs"/>
            </a:endParaRPr>
          </a:p>
          <a:p>
            <a:pPr defTabSz="990564" fontAlgn="auto">
              <a:spcBef>
                <a:spcPts val="0"/>
              </a:spcBef>
              <a:spcAft>
                <a:spcPts val="0"/>
              </a:spcAft>
              <a:buSzPct val="100000"/>
            </a:pPr>
            <a:endParaRPr kumimoji="1" lang="en-US" altLang="ja-JP" sz="1050" dirty="0">
              <a:latin typeface="+mn-lt"/>
              <a:cs typeface="+mn-cs"/>
            </a:endParaRPr>
          </a:p>
          <a:p>
            <a:pPr defTabSz="990564" fontAlgn="auto">
              <a:spcBef>
                <a:spcPts val="0"/>
              </a:spcBef>
              <a:spcAft>
                <a:spcPts val="0"/>
              </a:spcAft>
              <a:buSzPct val="100000"/>
            </a:pPr>
            <a:r>
              <a:rPr kumimoji="1" lang="ja-JP" altLang="en-US" sz="1050" b="1" u="sng" dirty="0">
                <a:latin typeface="+mn-lt"/>
                <a:cs typeface="+mn-cs"/>
              </a:rPr>
              <a:t>担当者名</a:t>
            </a:r>
            <a:endParaRPr kumimoji="1" lang="en-US" altLang="ja-JP" sz="1050" b="1" u="sng" dirty="0">
              <a:latin typeface="+mn-lt"/>
              <a:cs typeface="+mn-cs"/>
            </a:endParaRPr>
          </a:p>
          <a:p>
            <a:pPr defTabSz="990564" fontAlgn="auto">
              <a:spcBef>
                <a:spcPts val="0"/>
              </a:spcBef>
              <a:spcAft>
                <a:spcPts val="0"/>
              </a:spcAft>
              <a:buSzPct val="100000"/>
            </a:pPr>
            <a:endParaRPr kumimoji="1" lang="en-US" altLang="ja-JP" sz="1050" dirty="0">
              <a:latin typeface="+mn-lt"/>
              <a:cs typeface="+mn-cs"/>
            </a:endParaRPr>
          </a:p>
          <a:p>
            <a:pPr defTabSz="990564" fontAlgn="auto">
              <a:spcBef>
                <a:spcPts val="0"/>
              </a:spcBef>
              <a:spcAft>
                <a:spcPts val="0"/>
              </a:spcAft>
              <a:buSzPct val="100000"/>
            </a:pPr>
            <a:r>
              <a:rPr kumimoji="1" lang="ja-JP" altLang="en-US" sz="1050" b="1" u="sng" dirty="0">
                <a:latin typeface="+mn-lt"/>
                <a:cs typeface="+mn-cs"/>
              </a:rPr>
              <a:t>連絡先（電話・メール）</a:t>
            </a:r>
            <a:endParaRPr kumimoji="1" lang="en-US" altLang="ja-JP" sz="1050" b="1" u="sng" dirty="0">
              <a:latin typeface="+mn-lt"/>
              <a:cs typeface="+mn-cs"/>
            </a:endParaRPr>
          </a:p>
          <a:p>
            <a:pPr defTabSz="990564" fontAlgn="auto">
              <a:spcBef>
                <a:spcPts val="0"/>
              </a:spcBef>
              <a:spcAft>
                <a:spcPts val="0"/>
              </a:spcAft>
              <a:buSzPct val="100000"/>
            </a:pPr>
            <a:endParaRPr kumimoji="1" lang="ja-JP" altLang="en-US" sz="1050" dirty="0">
              <a:latin typeface="+mn-lt"/>
              <a:cs typeface="+mn-cs"/>
            </a:endParaRPr>
          </a:p>
        </p:txBody>
      </p:sp>
      <p:sp>
        <p:nvSpPr>
          <p:cNvPr id="11" name="正方形/長方形 10">
            <a:extLst>
              <a:ext uri="{FF2B5EF4-FFF2-40B4-BE49-F238E27FC236}">
                <a16:creationId xmlns:a16="http://schemas.microsoft.com/office/drawing/2014/main" id="{52CFB6C8-EA3F-2BB0-0F99-0D8906414FA0}"/>
              </a:ext>
            </a:extLst>
          </p:cNvPr>
          <p:cNvSpPr/>
          <p:nvPr/>
        </p:nvSpPr>
        <p:spPr>
          <a:xfrm>
            <a:off x="2032017" y="4094213"/>
            <a:ext cx="145617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t>担当部署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担当者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連絡先（電話・メール）</a:t>
            </a:r>
            <a:endParaRPr kumimoji="1" lang="en-US" altLang="ja-JP" sz="1050" b="1" u="sng" dirty="0"/>
          </a:p>
        </p:txBody>
      </p:sp>
      <p:sp>
        <p:nvSpPr>
          <p:cNvPr id="12" name="正方形/長方形 11">
            <a:extLst>
              <a:ext uri="{FF2B5EF4-FFF2-40B4-BE49-F238E27FC236}">
                <a16:creationId xmlns:a16="http://schemas.microsoft.com/office/drawing/2014/main" id="{2DEE255D-21CD-25A8-2E87-3126BC216E32}"/>
              </a:ext>
            </a:extLst>
          </p:cNvPr>
          <p:cNvSpPr/>
          <p:nvPr/>
        </p:nvSpPr>
        <p:spPr>
          <a:xfrm>
            <a:off x="2032017" y="2998366"/>
            <a:ext cx="145617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t>担当部署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担当者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連絡先（電話・メール）</a:t>
            </a:r>
            <a:endParaRPr kumimoji="1" lang="en-US" altLang="ja-JP" sz="1050" b="1" u="sng" dirty="0"/>
          </a:p>
        </p:txBody>
      </p:sp>
      <p:sp>
        <p:nvSpPr>
          <p:cNvPr id="13" name="正方形/長方形 12">
            <a:extLst>
              <a:ext uri="{FF2B5EF4-FFF2-40B4-BE49-F238E27FC236}">
                <a16:creationId xmlns:a16="http://schemas.microsoft.com/office/drawing/2014/main" id="{F66D279A-31A8-11E6-A91E-971A15618D5D}"/>
              </a:ext>
            </a:extLst>
          </p:cNvPr>
          <p:cNvSpPr/>
          <p:nvPr/>
        </p:nvSpPr>
        <p:spPr>
          <a:xfrm>
            <a:off x="2032017" y="5196297"/>
            <a:ext cx="1456174" cy="100916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050" b="1" u="sng" dirty="0"/>
              <a:t>担当部署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担当者名</a:t>
            </a:r>
            <a:endParaRPr kumimoji="1" lang="en-US" altLang="ja-JP" sz="1050" b="1" u="sng" dirty="0"/>
          </a:p>
          <a:p>
            <a:pPr defTabSz="990564" fontAlgn="auto">
              <a:spcBef>
                <a:spcPts val="0"/>
              </a:spcBef>
              <a:spcAft>
                <a:spcPts val="0"/>
              </a:spcAft>
              <a:buSzPct val="100000"/>
            </a:pPr>
            <a:endParaRPr kumimoji="1" lang="en-US" altLang="ja-JP" sz="1050" dirty="0"/>
          </a:p>
          <a:p>
            <a:pPr defTabSz="990564" fontAlgn="auto">
              <a:spcBef>
                <a:spcPts val="0"/>
              </a:spcBef>
              <a:spcAft>
                <a:spcPts val="0"/>
              </a:spcAft>
              <a:buSzPct val="100000"/>
            </a:pPr>
            <a:r>
              <a:rPr kumimoji="1" lang="ja-JP" altLang="en-US" sz="1050" b="1" u="sng" dirty="0"/>
              <a:t>連絡先（電話・メール）</a:t>
            </a:r>
            <a:endParaRPr kumimoji="1" lang="en-US" altLang="ja-JP" sz="1050" b="1" u="sng" dirty="0"/>
          </a:p>
        </p:txBody>
      </p:sp>
      <p:sp>
        <p:nvSpPr>
          <p:cNvPr id="16" name="正方形/長方形 15">
            <a:extLst>
              <a:ext uri="{FF2B5EF4-FFF2-40B4-BE49-F238E27FC236}">
                <a16:creationId xmlns:a16="http://schemas.microsoft.com/office/drawing/2014/main" id="{EA8258CF-E358-52AB-3D13-8499A20EDA3D}"/>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dirty="0">
                <a:solidFill>
                  <a:srgbClr val="C00000"/>
                </a:solidFill>
                <a:latin typeface="+mn-ea"/>
                <a:cs typeface="+mn-cs"/>
              </a:rPr>
              <a:t>※</a:t>
            </a:r>
            <a:r>
              <a:rPr kumimoji="1" lang="ja-JP" altLang="en-US" sz="1050" b="0" i="0" u="none" strike="noStrike" kern="1200" cap="none" spc="0" normalizeH="0" baseline="0" noProof="0" dirty="0">
                <a:ln>
                  <a:noFill/>
                </a:ln>
                <a:solidFill>
                  <a:srgbClr val="C00000"/>
                </a:solidFill>
                <a:effectLst/>
                <a:uLnTx/>
                <a:uFillTx/>
                <a:latin typeface="+mn-ea"/>
                <a:cs typeface="+mn-cs"/>
              </a:rPr>
              <a:t>欄が不足する場合は、適宜レイアウト・枚数を追加しご記入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2184361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FC8A3-0A93-CA0A-FBA5-70C85A456C29}"/>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60E1612-403E-70C2-E230-8C2F079CB6B6}"/>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a:p>
        </p:txBody>
      </p:sp>
      <p:sp>
        <p:nvSpPr>
          <p:cNvPr id="11" name="正方形/長方形 10">
            <a:extLst>
              <a:ext uri="{FF2B5EF4-FFF2-40B4-BE49-F238E27FC236}">
                <a16:creationId xmlns:a16="http://schemas.microsoft.com/office/drawing/2014/main" id="{F2048EDC-A253-02F4-59A9-22B035252BC8}"/>
              </a:ext>
            </a:extLst>
          </p:cNvPr>
          <p:cNvSpPr/>
          <p:nvPr/>
        </p:nvSpPr>
        <p:spPr bwMode="gray">
          <a:xfrm>
            <a:off x="220816" y="857250"/>
            <a:ext cx="4536000" cy="227631"/>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地域課題</a:t>
            </a:r>
          </a:p>
        </p:txBody>
      </p:sp>
      <p:sp>
        <p:nvSpPr>
          <p:cNvPr id="17" name="正方形/長方形 16">
            <a:extLst>
              <a:ext uri="{FF2B5EF4-FFF2-40B4-BE49-F238E27FC236}">
                <a16:creationId xmlns:a16="http://schemas.microsoft.com/office/drawing/2014/main" id="{13979DB3-557D-916E-99CE-811794D70E69}"/>
              </a:ext>
            </a:extLst>
          </p:cNvPr>
          <p:cNvSpPr/>
          <p:nvPr/>
        </p:nvSpPr>
        <p:spPr bwMode="gray">
          <a:xfrm>
            <a:off x="132712" y="576550"/>
            <a:ext cx="4448813"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解決を図る地域課題・解決策（仮説）および用いるソリューション</a:t>
            </a:r>
            <a:endParaRPr kumimoji="1" lang="en-US" altLang="ja-JP" sz="1200" b="1" dirty="0">
              <a:latin typeface="+mj-ea"/>
              <a:ea typeface="+mj-ea"/>
              <a:cs typeface="+mn-cs"/>
            </a:endParaRPr>
          </a:p>
        </p:txBody>
      </p:sp>
      <p:sp>
        <p:nvSpPr>
          <p:cNvPr id="24" name="正方形/長方形 23">
            <a:extLst>
              <a:ext uri="{FF2B5EF4-FFF2-40B4-BE49-F238E27FC236}">
                <a16:creationId xmlns:a16="http://schemas.microsoft.com/office/drawing/2014/main" id="{1F595678-294B-BA73-E70E-BC9CECBD815E}"/>
              </a:ext>
            </a:extLst>
          </p:cNvPr>
          <p:cNvSpPr/>
          <p:nvPr/>
        </p:nvSpPr>
        <p:spPr bwMode="gray">
          <a:xfrm>
            <a:off x="5149186" y="858219"/>
            <a:ext cx="4566313" cy="227631"/>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解決策（仮説）</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71C85E8A-2595-6435-334C-33F71A8D5673}"/>
              </a:ext>
            </a:extLst>
          </p:cNvPr>
          <p:cNvSpPr/>
          <p:nvPr/>
        </p:nvSpPr>
        <p:spPr bwMode="gray">
          <a:xfrm>
            <a:off x="924591" y="1466958"/>
            <a:ext cx="3832225" cy="1077353"/>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取り上げる地域課題に対して実現すべき姿（理想）を記載すること</a:t>
            </a: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AE2BBD6D-F22E-D250-19E6-318B444CA753}"/>
              </a:ext>
            </a:extLst>
          </p:cNvPr>
          <p:cNvSpPr/>
          <p:nvPr/>
        </p:nvSpPr>
        <p:spPr bwMode="gray">
          <a:xfrm>
            <a:off x="222667" y="1466958"/>
            <a:ext cx="609600" cy="1077353"/>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あるべき姿</a:t>
            </a:r>
          </a:p>
        </p:txBody>
      </p:sp>
      <p:sp>
        <p:nvSpPr>
          <p:cNvPr id="18" name="正方形/長方形 17">
            <a:extLst>
              <a:ext uri="{FF2B5EF4-FFF2-40B4-BE49-F238E27FC236}">
                <a16:creationId xmlns:a16="http://schemas.microsoft.com/office/drawing/2014/main" id="{8880EE1B-BD1A-61E0-F672-DF6D0F94D45A}"/>
              </a:ext>
            </a:extLst>
          </p:cNvPr>
          <p:cNvSpPr/>
          <p:nvPr/>
        </p:nvSpPr>
        <p:spPr bwMode="gray">
          <a:xfrm>
            <a:off x="924591" y="2572888"/>
            <a:ext cx="3832225" cy="1019486"/>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あるべき姿に対して認識している徳島県下での取組状況や現状（仮説）、解決しようとする地域課題を記載すること</a:t>
            </a:r>
            <a:endParaRPr kumimoji="1" lang="en-US" altLang="ja-JP" sz="1200" b="1" u="sng"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BEB49D8E-CB8F-C13F-9B99-6C1BCDA7D96D}"/>
              </a:ext>
            </a:extLst>
          </p:cNvPr>
          <p:cNvSpPr/>
          <p:nvPr/>
        </p:nvSpPr>
        <p:spPr bwMode="gray">
          <a:xfrm>
            <a:off x="222667" y="2572888"/>
            <a:ext cx="609600" cy="1019486"/>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現状</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および</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課題</a:t>
            </a:r>
          </a:p>
        </p:txBody>
      </p:sp>
      <p:sp>
        <p:nvSpPr>
          <p:cNvPr id="27" name="正方形/長方形 26">
            <a:extLst>
              <a:ext uri="{FF2B5EF4-FFF2-40B4-BE49-F238E27FC236}">
                <a16:creationId xmlns:a16="http://schemas.microsoft.com/office/drawing/2014/main" id="{0C33F8BB-619A-1650-0A20-EBCAC05C5828}"/>
              </a:ext>
            </a:extLst>
          </p:cNvPr>
          <p:cNvSpPr/>
          <p:nvPr/>
        </p:nvSpPr>
        <p:spPr bwMode="gray">
          <a:xfrm>
            <a:off x="5149186" y="1104286"/>
            <a:ext cx="4566312" cy="2493507"/>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課題を解決し、あるべき姿を実現するための解決策について記載すること</a:t>
            </a:r>
            <a:endParaRPr kumimoji="1" lang="en-US" altLang="ja-JP" sz="1200" b="1" u="sng"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i="0" strike="noStrike" kern="1200" cap="none" spc="0" normalizeH="0" baseline="0" noProof="0" dirty="0">
              <a:ln>
                <a:noFill/>
              </a:ln>
              <a:solidFill>
                <a:prstClr val="black"/>
              </a:solidFill>
              <a:effectLst/>
              <a:uLnTx/>
              <a:uFillTx/>
              <a:latin typeface="+mn-lt"/>
              <a:ea typeface="+mn-ea"/>
              <a:cs typeface="+mn-cs"/>
            </a:endParaRPr>
          </a:p>
        </p:txBody>
      </p:sp>
      <p:sp>
        <p:nvSpPr>
          <p:cNvPr id="28" name="フローチャート: 抜出し 27">
            <a:extLst>
              <a:ext uri="{FF2B5EF4-FFF2-40B4-BE49-F238E27FC236}">
                <a16:creationId xmlns:a16="http://schemas.microsoft.com/office/drawing/2014/main" id="{D26F674E-F3CB-A9F8-1D89-7E278EB9CF2B}"/>
              </a:ext>
            </a:extLst>
          </p:cNvPr>
          <p:cNvSpPr/>
          <p:nvPr/>
        </p:nvSpPr>
        <p:spPr bwMode="gray">
          <a:xfrm rot="5400000">
            <a:off x="4664431" y="2295501"/>
            <a:ext cx="577137" cy="196185"/>
          </a:xfrm>
          <a:prstGeom prst="flowChartExtra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930A1949-D8BF-94A4-BBC4-A7E36678544B}"/>
              </a:ext>
            </a:extLst>
          </p:cNvPr>
          <p:cNvSpPr/>
          <p:nvPr/>
        </p:nvSpPr>
        <p:spPr bwMode="gray">
          <a:xfrm>
            <a:off x="220816" y="3959743"/>
            <a:ext cx="9494684" cy="227631"/>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解決策実行のために用いるソリューション</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FCB81040-EC61-8BBE-FAB5-2718D2778AA6}"/>
              </a:ext>
            </a:extLst>
          </p:cNvPr>
          <p:cNvSpPr/>
          <p:nvPr/>
        </p:nvSpPr>
        <p:spPr bwMode="gray">
          <a:xfrm>
            <a:off x="220816" y="4251309"/>
            <a:ext cx="9494682" cy="2250966"/>
          </a:xfrm>
          <a:prstGeom prst="rect">
            <a:avLst/>
          </a:prstGeom>
          <a:solidFill>
            <a:srgbClr val="DCFBD5"/>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実証実験で用いる技術、製品、サービス、システム等</a:t>
            </a:r>
            <a:endParaRPr kumimoji="1" lang="en-US" altLang="ja-JP" sz="1200" dirty="0">
              <a:solidFill>
                <a:prstClr val="black"/>
              </a:solidFill>
              <a:latin typeface="+mn-lt"/>
              <a:cs typeface="+mn-cs"/>
            </a:endParaRPr>
          </a:p>
          <a:p>
            <a:pPr marL="355600" marR="0" indent="-182563"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dirty="0">
                <a:solidFill>
                  <a:prstClr val="black"/>
                </a:solidFill>
                <a:latin typeface="+mn-lt"/>
                <a:cs typeface="+mn-cs"/>
              </a:rPr>
              <a:t>名称</a:t>
            </a:r>
            <a:endParaRPr kumimoji="1" lang="en-US" altLang="ja-JP" sz="1200" dirty="0">
              <a:solidFill>
                <a:prstClr val="black"/>
              </a:solidFill>
              <a:latin typeface="+mn-lt"/>
              <a:cs typeface="+mn-cs"/>
            </a:endParaRPr>
          </a:p>
          <a:p>
            <a:pPr marL="355600" marR="0" indent="-182563"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355600" marR="0" indent="-182563"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dirty="0">
                <a:solidFill>
                  <a:prstClr val="black"/>
                </a:solidFill>
                <a:latin typeface="+mn-lt"/>
                <a:cs typeface="+mn-cs"/>
              </a:rPr>
              <a:t>内容</a:t>
            </a: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上記を用いることでどのようなトランスフォーメーションが起こるか</a:t>
            </a: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r>
              <a:rPr kumimoji="1" lang="ja-JP" altLang="en-US" sz="1200" b="1" u="sng" dirty="0">
                <a:solidFill>
                  <a:prstClr val="black"/>
                </a:solidFill>
                <a:latin typeface="+mn-lt"/>
                <a:cs typeface="+mn-cs"/>
              </a:rPr>
              <a:t>誰のどのような行動がどのように変革されるかを記載すること</a:t>
            </a:r>
            <a:endParaRPr kumimoji="1" lang="en-US" altLang="ja-JP" sz="1200" b="1" u="sng"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sp>
        <p:nvSpPr>
          <p:cNvPr id="9" name="正方形/長方形 8">
            <a:extLst>
              <a:ext uri="{FF2B5EF4-FFF2-40B4-BE49-F238E27FC236}">
                <a16:creationId xmlns:a16="http://schemas.microsoft.com/office/drawing/2014/main" id="{D1CA85D1-4E17-2A2F-CAD1-43FFC545DEE0}"/>
              </a:ext>
            </a:extLst>
          </p:cNvPr>
          <p:cNvSpPr/>
          <p:nvPr/>
        </p:nvSpPr>
        <p:spPr bwMode="gray">
          <a:xfrm>
            <a:off x="7035449" y="4369880"/>
            <a:ext cx="2314575" cy="1981200"/>
          </a:xfrm>
          <a:prstGeom prst="rect">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ソリューションの参考画像や</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イラストがあれば貼付すること</a:t>
            </a:r>
          </a:p>
        </p:txBody>
      </p:sp>
      <p:cxnSp>
        <p:nvCxnSpPr>
          <p:cNvPr id="32" name="コネクタ: カギ線 31">
            <a:extLst>
              <a:ext uri="{FF2B5EF4-FFF2-40B4-BE49-F238E27FC236}">
                <a16:creationId xmlns:a16="http://schemas.microsoft.com/office/drawing/2014/main" id="{87F6AC7A-947F-46A8-FADA-6B28ECD89BFD}"/>
              </a:ext>
            </a:extLst>
          </p:cNvPr>
          <p:cNvCxnSpPr>
            <a:cxnSpLocks/>
            <a:stCxn id="27" idx="2"/>
            <a:endCxn id="29" idx="0"/>
          </p:cNvCxnSpPr>
          <p:nvPr/>
        </p:nvCxnSpPr>
        <p:spPr bwMode="gray">
          <a:xfrm rot="5400000">
            <a:off x="6019275" y="2546676"/>
            <a:ext cx="361950" cy="2464184"/>
          </a:xfrm>
          <a:prstGeom prst="bentConnector3">
            <a:avLst/>
          </a:prstGeom>
          <a:ln w="38100">
            <a:solidFill>
              <a:schemeClr val="tx2"/>
            </a:solidFill>
            <a:headEnd type="triangle"/>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00E1ADC4-A51D-C215-5B99-4899BCFDA36F}"/>
              </a:ext>
            </a:extLst>
          </p:cNvPr>
          <p:cNvSpPr/>
          <p:nvPr/>
        </p:nvSpPr>
        <p:spPr bwMode="gray">
          <a:xfrm>
            <a:off x="924591" y="1104286"/>
            <a:ext cx="3832225" cy="343514"/>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該当する重点分野を記載すること（複数分野の記載も可能）</a:t>
            </a:r>
            <a:endParaRPr kumimoji="1" lang="ja-JP" altLang="en-US" sz="1200" i="0" strike="noStrike" kern="1200" cap="none" spc="0" normalizeH="0" baseline="0" noProof="0" dirty="0">
              <a:ln>
                <a:noFill/>
              </a:ln>
              <a:solidFill>
                <a:prstClr val="black"/>
              </a:solidFill>
              <a:effectLst/>
              <a:uLnTx/>
              <a:uFillTx/>
              <a:latin typeface="+mn-lt"/>
              <a:ea typeface="+mn-ea"/>
              <a:cs typeface="+mn-cs"/>
            </a:endParaRPr>
          </a:p>
        </p:txBody>
      </p:sp>
      <p:sp>
        <p:nvSpPr>
          <p:cNvPr id="10" name="正方形/長方形 9">
            <a:extLst>
              <a:ext uri="{FF2B5EF4-FFF2-40B4-BE49-F238E27FC236}">
                <a16:creationId xmlns:a16="http://schemas.microsoft.com/office/drawing/2014/main" id="{A3BF9AD5-571B-AA20-67AB-335FB2703F5E}"/>
              </a:ext>
            </a:extLst>
          </p:cNvPr>
          <p:cNvSpPr/>
          <p:nvPr/>
        </p:nvSpPr>
        <p:spPr bwMode="gray">
          <a:xfrm>
            <a:off x="222667" y="1104286"/>
            <a:ext cx="609600" cy="343514"/>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分野</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テキスト ボックス 19">
            <a:extLst>
              <a:ext uri="{FF2B5EF4-FFF2-40B4-BE49-F238E27FC236}">
                <a16:creationId xmlns:a16="http://schemas.microsoft.com/office/drawing/2014/main" id="{5784F94C-F576-C997-FA94-C74C09C72C2E}"/>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①</a:t>
            </a:r>
          </a:p>
        </p:txBody>
      </p:sp>
      <p:sp>
        <p:nvSpPr>
          <p:cNvPr id="5" name="正方形/長方形 4">
            <a:extLst>
              <a:ext uri="{FF2B5EF4-FFF2-40B4-BE49-F238E27FC236}">
                <a16:creationId xmlns:a16="http://schemas.microsoft.com/office/drawing/2014/main" id="{B83C9F13-6DC7-388F-2E52-E460FB543F54}"/>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dirty="0">
                <a:solidFill>
                  <a:srgbClr val="C00000"/>
                </a:solidFill>
                <a:latin typeface="+mn-ea"/>
                <a:cs typeface="+mn-cs"/>
              </a:rPr>
              <a:t>※</a:t>
            </a:r>
            <a:r>
              <a:rPr kumimoji="1" lang="ja-JP" altLang="en-US" sz="1050" b="0" i="0" u="none" strike="noStrike" kern="1200" cap="none" spc="0" normalizeH="0" baseline="0" noProof="0" dirty="0">
                <a:ln>
                  <a:noFill/>
                </a:ln>
                <a:solidFill>
                  <a:srgbClr val="C00000"/>
                </a:solidFill>
                <a:effectLst/>
                <a:uLnTx/>
                <a:uFillTx/>
                <a:latin typeface="+mn-ea"/>
                <a:cs typeface="+mn-cs"/>
              </a:rPr>
              <a:t>各枠の大きさを調整いただくことは可能ですが</a:t>
            </a:r>
            <a:r>
              <a:rPr kumimoji="1" lang="ja-JP" altLang="en-US" sz="1050" dirty="0">
                <a:solidFill>
                  <a:srgbClr val="C00000"/>
                </a:solidFill>
                <a:latin typeface="+mn-ea"/>
                <a:cs typeface="+mn-cs"/>
              </a:rPr>
              <a:t>、上記内容を全て</a:t>
            </a:r>
            <a:r>
              <a:rPr kumimoji="1" lang="en-US" altLang="ja-JP" sz="1050" dirty="0">
                <a:solidFill>
                  <a:srgbClr val="C00000"/>
                </a:solidFill>
                <a:latin typeface="+mn-ea"/>
                <a:cs typeface="+mn-cs"/>
              </a:rPr>
              <a:t>1</a:t>
            </a:r>
            <a:r>
              <a:rPr kumimoji="1" lang="ja-JP" altLang="en-US" sz="1050" dirty="0">
                <a:solidFill>
                  <a:srgbClr val="C00000"/>
                </a:solidFill>
                <a:latin typeface="+mn-ea"/>
                <a:cs typeface="+mn-cs"/>
              </a:rPr>
              <a:t>枚以内でご記載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1437167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667F4385-329F-A020-8EF0-6717130C15C0}"/>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a:p>
        </p:txBody>
      </p:sp>
      <p:sp>
        <p:nvSpPr>
          <p:cNvPr id="8" name="正方形/長方形 7">
            <a:extLst>
              <a:ext uri="{FF2B5EF4-FFF2-40B4-BE49-F238E27FC236}">
                <a16:creationId xmlns:a16="http://schemas.microsoft.com/office/drawing/2014/main" id="{324900AE-5340-7837-B53F-3F0B94BEC7CF}"/>
              </a:ext>
            </a:extLst>
          </p:cNvPr>
          <p:cNvSpPr/>
          <p:nvPr/>
        </p:nvSpPr>
        <p:spPr bwMode="gray">
          <a:xfrm>
            <a:off x="220816" y="892423"/>
            <a:ext cx="9494682" cy="5695577"/>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u="sng">
                <a:solidFill>
                  <a:prstClr val="black"/>
                </a:solidFill>
                <a:latin typeface="+mn-lt"/>
                <a:cs typeface="+mn-cs"/>
              </a:rPr>
              <a:t>前頁で記述したソリューションの詳細情報や参考情報があれば記載すること。</a:t>
            </a:r>
            <a:endParaRPr kumimoji="1" lang="ja-JP" altLang="en-US" sz="1200" b="1" u="sng" dirty="0">
              <a:solidFill>
                <a:prstClr val="black"/>
              </a:solidFill>
              <a:latin typeface="+mn-lt"/>
              <a:cs typeface="+mn-cs"/>
            </a:endParaRPr>
          </a:p>
        </p:txBody>
      </p:sp>
      <p:sp>
        <p:nvSpPr>
          <p:cNvPr id="12" name="正方形/長方形 11">
            <a:extLst>
              <a:ext uri="{FF2B5EF4-FFF2-40B4-BE49-F238E27FC236}">
                <a16:creationId xmlns:a16="http://schemas.microsoft.com/office/drawing/2014/main" id="{69CE2DE2-066F-5FF7-295C-080B9702BE57}"/>
              </a:ext>
            </a:extLst>
          </p:cNvPr>
          <p:cNvSpPr/>
          <p:nvPr/>
        </p:nvSpPr>
        <p:spPr bwMode="gray">
          <a:xfrm>
            <a:off x="132712" y="576550"/>
            <a:ext cx="2419987"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用いるソリューションの補足情報</a:t>
            </a:r>
            <a:endParaRPr kumimoji="1" lang="en-US" altLang="ja-JP" sz="1200" b="1" dirty="0">
              <a:latin typeface="+mj-ea"/>
              <a:ea typeface="+mj-ea"/>
              <a:cs typeface="+mn-cs"/>
            </a:endParaRPr>
          </a:p>
        </p:txBody>
      </p:sp>
      <p:sp>
        <p:nvSpPr>
          <p:cNvPr id="6" name="四角形: 角を丸くする 5">
            <a:extLst>
              <a:ext uri="{FF2B5EF4-FFF2-40B4-BE49-F238E27FC236}">
                <a16:creationId xmlns:a16="http://schemas.microsoft.com/office/drawing/2014/main" id="{C8D130D7-6A27-18B6-B19E-BCC99170DC92}"/>
              </a:ext>
            </a:extLst>
          </p:cNvPr>
          <p:cNvSpPr/>
          <p:nvPr/>
        </p:nvSpPr>
        <p:spPr bwMode="gray">
          <a:xfrm>
            <a:off x="6543675" y="576062"/>
            <a:ext cx="3171823" cy="221018"/>
          </a:xfrm>
          <a:prstGeom prst="roundRect">
            <a:avLst>
              <a:gd name="adj" fmla="val 50000"/>
            </a:avLst>
          </a:prstGeom>
          <a:solidFill>
            <a:srgbClr val="FFCCFF"/>
          </a:solidFill>
          <a:ln w="12700" algn="ctr">
            <a:solidFill>
              <a:srgbClr val="CC99FF"/>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本項目は３枚まで複写して記載いただけます</a:t>
            </a:r>
          </a:p>
        </p:txBody>
      </p:sp>
      <p:sp>
        <p:nvSpPr>
          <p:cNvPr id="7" name="テキスト ボックス 6">
            <a:extLst>
              <a:ext uri="{FF2B5EF4-FFF2-40B4-BE49-F238E27FC236}">
                <a16:creationId xmlns:a16="http://schemas.microsoft.com/office/drawing/2014/main" id="{2D24BD8D-4C06-3E95-1219-ECD3493F1F84}"/>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①</a:t>
            </a:r>
          </a:p>
        </p:txBody>
      </p:sp>
    </p:spTree>
    <p:extLst>
      <p:ext uri="{BB962C8B-B14F-4D97-AF65-F5344CB8AC3E}">
        <p14:creationId xmlns:p14="http://schemas.microsoft.com/office/powerpoint/2010/main" val="914278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0E067-C0C9-0408-4968-EA2CFF8FFA94}"/>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FB615CC4-074A-C59B-849C-695834AA8479}"/>
              </a:ext>
            </a:extLst>
          </p:cNvPr>
          <p:cNvSpPr>
            <a:spLocks noGrp="1"/>
          </p:cNvSpPr>
          <p:nvPr>
            <p:ph type="sldNum" sz="quarter" idx="11"/>
          </p:nvPr>
        </p:nvSpPr>
        <p:spPr/>
        <p:txBody>
          <a:bodyPr/>
          <a:lstStyle/>
          <a:p>
            <a:fld id="{AA5FCFE5-FE56-4EF1-80A8-07776887C2A1}" type="slidenum">
              <a:rPr lang="ja-JP" altLang="en-US" smtClean="0"/>
              <a:pPr/>
              <a:t>15</a:t>
            </a:fld>
            <a:endParaRPr lang="ja-JP" altLang="en-US"/>
          </a:p>
        </p:txBody>
      </p:sp>
      <p:sp>
        <p:nvSpPr>
          <p:cNvPr id="6" name="正方形/長方形 5">
            <a:extLst>
              <a:ext uri="{FF2B5EF4-FFF2-40B4-BE49-F238E27FC236}">
                <a16:creationId xmlns:a16="http://schemas.microsoft.com/office/drawing/2014/main" id="{C504AFF5-BE2A-9574-1BEA-813C28387876}"/>
              </a:ext>
            </a:extLst>
          </p:cNvPr>
          <p:cNvSpPr/>
          <p:nvPr/>
        </p:nvSpPr>
        <p:spPr bwMode="gray">
          <a:xfrm>
            <a:off x="132713" y="547975"/>
            <a:ext cx="2160000"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証内容詳細</a:t>
            </a:r>
            <a:endParaRPr kumimoji="1" lang="en-US" altLang="ja-JP" sz="1200" b="1" dirty="0">
              <a:latin typeface="+mj-ea"/>
              <a:ea typeface="+mj-ea"/>
              <a:cs typeface="+mn-cs"/>
            </a:endParaRPr>
          </a:p>
        </p:txBody>
      </p:sp>
      <p:sp>
        <p:nvSpPr>
          <p:cNvPr id="9" name="正方形/長方形 8">
            <a:extLst>
              <a:ext uri="{FF2B5EF4-FFF2-40B4-BE49-F238E27FC236}">
                <a16:creationId xmlns:a16="http://schemas.microsoft.com/office/drawing/2014/main" id="{D6F985E8-A811-A084-73C9-C8D4056EB6E6}"/>
              </a:ext>
            </a:extLst>
          </p:cNvPr>
          <p:cNvSpPr/>
          <p:nvPr/>
        </p:nvSpPr>
        <p:spPr bwMode="gray">
          <a:xfrm>
            <a:off x="200115" y="836604"/>
            <a:ext cx="1130744" cy="337751"/>
          </a:xfrm>
          <a:prstGeom prst="rect">
            <a:avLst/>
          </a:prstGeom>
          <a:solidFill>
            <a:schemeClr val="tx2"/>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bg1"/>
                </a:solidFill>
                <a:latin typeface="+mj-ea"/>
                <a:ea typeface="+mj-ea"/>
                <a:cs typeface="+mn-cs"/>
              </a:rPr>
              <a:t>プロジェクト名</a:t>
            </a:r>
          </a:p>
        </p:txBody>
      </p:sp>
      <p:sp>
        <p:nvSpPr>
          <p:cNvPr id="10" name="正方形/長方形 9">
            <a:extLst>
              <a:ext uri="{FF2B5EF4-FFF2-40B4-BE49-F238E27FC236}">
                <a16:creationId xmlns:a16="http://schemas.microsoft.com/office/drawing/2014/main" id="{5F88BC6D-1F55-60EB-CBC8-7E638206381D}"/>
              </a:ext>
            </a:extLst>
          </p:cNvPr>
          <p:cNvSpPr/>
          <p:nvPr/>
        </p:nvSpPr>
        <p:spPr bwMode="gray">
          <a:xfrm>
            <a:off x="1412341" y="835579"/>
            <a:ext cx="8293544" cy="337751"/>
          </a:xfrm>
          <a:prstGeom prst="rect">
            <a:avLst/>
          </a:prstGeom>
          <a:no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プロジェクト名称を記入すること</a:t>
            </a:r>
            <a:endParaRPr kumimoji="1" lang="ja-JP" altLang="en-US" sz="1200" b="1" i="0" u="sng" strike="noStrike" kern="1200" cap="none" spc="0" normalizeH="0" baseline="0" noProof="0" dirty="0">
              <a:ln>
                <a:noFill/>
              </a:ln>
              <a:solidFill>
                <a:prstClr val="black"/>
              </a:solidFill>
              <a:effectLst/>
              <a:uLnTx/>
              <a:uFillTx/>
              <a:latin typeface="+mn-lt"/>
              <a:ea typeface="+mn-ea"/>
              <a:cs typeface="+mn-cs"/>
            </a:endParaRPr>
          </a:p>
        </p:txBody>
      </p:sp>
      <p:graphicFrame>
        <p:nvGraphicFramePr>
          <p:cNvPr id="12" name="表 7">
            <a:extLst>
              <a:ext uri="{FF2B5EF4-FFF2-40B4-BE49-F238E27FC236}">
                <a16:creationId xmlns:a16="http://schemas.microsoft.com/office/drawing/2014/main" id="{89E2CC7D-B893-2EAB-42E9-E4F5C6A8907A}"/>
              </a:ext>
            </a:extLst>
          </p:cNvPr>
          <p:cNvGraphicFramePr>
            <a:graphicFrameLocks noGrp="1"/>
          </p:cNvGraphicFramePr>
          <p:nvPr>
            <p:extLst>
              <p:ext uri="{D42A27DB-BD31-4B8C-83A1-F6EECF244321}">
                <p14:modId xmlns:p14="http://schemas.microsoft.com/office/powerpoint/2010/main" val="2005327190"/>
              </p:ext>
            </p:extLst>
          </p:nvPr>
        </p:nvGraphicFramePr>
        <p:xfrm>
          <a:off x="865124" y="5124450"/>
          <a:ext cx="8758499" cy="1403889"/>
        </p:xfrm>
        <a:graphic>
          <a:graphicData uri="http://schemas.openxmlformats.org/drawingml/2006/table">
            <a:tbl>
              <a:tblPr firstRow="1" bandRow="1">
                <a:tableStyleId>{F5AB1C69-6EDB-4FF4-983F-18BD219EF322}</a:tableStyleId>
              </a:tblPr>
              <a:tblGrid>
                <a:gridCol w="333697">
                  <a:extLst>
                    <a:ext uri="{9D8B030D-6E8A-4147-A177-3AD203B41FA5}">
                      <a16:colId xmlns:a16="http://schemas.microsoft.com/office/drawing/2014/main" val="186891815"/>
                    </a:ext>
                  </a:extLst>
                </a:gridCol>
                <a:gridCol w="2096829">
                  <a:extLst>
                    <a:ext uri="{9D8B030D-6E8A-4147-A177-3AD203B41FA5}">
                      <a16:colId xmlns:a16="http://schemas.microsoft.com/office/drawing/2014/main" val="444949776"/>
                    </a:ext>
                  </a:extLst>
                </a:gridCol>
                <a:gridCol w="6327973">
                  <a:extLst>
                    <a:ext uri="{9D8B030D-6E8A-4147-A177-3AD203B41FA5}">
                      <a16:colId xmlns:a16="http://schemas.microsoft.com/office/drawing/2014/main" val="1685671594"/>
                    </a:ext>
                  </a:extLst>
                </a:gridCol>
              </a:tblGrid>
              <a:tr h="237981">
                <a:tc>
                  <a:txBody>
                    <a:bodyPr/>
                    <a:lstStyle/>
                    <a:p>
                      <a:pPr marL="0" indent="0" algn="ctr">
                        <a:buFont typeface="Wingdings" panose="05000000000000000000" pitchFamily="2" charset="2"/>
                        <a:buNone/>
                      </a:pPr>
                      <a:r>
                        <a:rPr kumimoji="1" lang="en-US" altLang="ja-JP" sz="900" b="1" dirty="0">
                          <a:solidFill>
                            <a:schemeClr val="bg1"/>
                          </a:solidFill>
                        </a:rPr>
                        <a:t>No.</a:t>
                      </a:r>
                      <a:endParaRPr kumimoji="1" lang="ja-JP" altLang="en-US" sz="900" b="1" dirty="0">
                        <a:solidFill>
                          <a:schemeClr val="bg1"/>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buFont typeface="Wingdings" panose="05000000000000000000" pitchFamily="2" charset="2"/>
                        <a:buNone/>
                      </a:pPr>
                      <a:r>
                        <a:rPr kumimoji="1" lang="ja-JP" altLang="en-US" sz="900" b="1" dirty="0">
                          <a:solidFill>
                            <a:schemeClr val="bg1"/>
                          </a:solidFill>
                        </a:rPr>
                        <a:t>検証項目</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buFont typeface="Wingdings" panose="05000000000000000000" pitchFamily="2" charset="2"/>
                        <a:buNone/>
                      </a:pPr>
                      <a:r>
                        <a:rPr kumimoji="1" lang="ja-JP" altLang="en-US" sz="900" b="1" dirty="0">
                          <a:solidFill>
                            <a:schemeClr val="bg1"/>
                          </a:solidFill>
                        </a:rPr>
                        <a:t>検証内容</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40522798"/>
                  </a:ext>
                </a:extLst>
              </a:tr>
              <a:tr h="291477">
                <a:tc>
                  <a:txBody>
                    <a:bodyPr/>
                    <a:lstStyle/>
                    <a:p>
                      <a:pPr marL="0" indent="0" algn="ctr">
                        <a:buFont typeface="Wingdings" panose="05000000000000000000" pitchFamily="2" charset="2"/>
                        <a:buNone/>
                      </a:pPr>
                      <a:r>
                        <a:rPr kumimoji="1" lang="en-US" altLang="ja-JP" sz="1100" b="0" dirty="0">
                          <a:solidFill>
                            <a:schemeClr val="tx1"/>
                          </a:solidFill>
                        </a:rPr>
                        <a:t>1</a:t>
                      </a:r>
                      <a:endParaRPr kumimoji="1" lang="ja-JP" altLang="en-US" sz="1100" b="0" dirty="0">
                        <a:solidFill>
                          <a:schemeClr val="tx1"/>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35221813"/>
                  </a:ext>
                </a:extLst>
              </a:tr>
              <a:tr h="291477">
                <a:tc>
                  <a:txBody>
                    <a:bodyPr/>
                    <a:lstStyle/>
                    <a:p>
                      <a:pPr marL="0" indent="0" algn="ctr">
                        <a:buFont typeface="Wingdings" panose="05000000000000000000" pitchFamily="2" charset="2"/>
                        <a:buNone/>
                      </a:pPr>
                      <a:r>
                        <a:rPr kumimoji="1" lang="en-US" altLang="ja-JP" sz="1100" b="0" dirty="0">
                          <a:solidFill>
                            <a:schemeClr val="tx1"/>
                          </a:solidFill>
                        </a:rPr>
                        <a:t>2</a:t>
                      </a:r>
                      <a:endParaRPr kumimoji="1" lang="ja-JP" altLang="en-US" sz="1100" b="0" dirty="0">
                        <a:solidFill>
                          <a:schemeClr val="tx1"/>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5337662"/>
                  </a:ext>
                </a:extLst>
              </a:tr>
              <a:tr h="291477">
                <a:tc>
                  <a:txBody>
                    <a:bodyPr/>
                    <a:lstStyle/>
                    <a:p>
                      <a:pPr marL="0" indent="0" algn="ctr">
                        <a:buFont typeface="Wingdings" panose="05000000000000000000" pitchFamily="2" charset="2"/>
                        <a:buNone/>
                      </a:pPr>
                      <a:r>
                        <a:rPr kumimoji="1" lang="en-US" altLang="ja-JP" sz="1100" b="0" dirty="0">
                          <a:solidFill>
                            <a:schemeClr val="tx1"/>
                          </a:solidFill>
                        </a:rPr>
                        <a:t>3</a:t>
                      </a:r>
                      <a:endParaRPr kumimoji="1" lang="ja-JP" altLang="en-US" sz="1100" b="0" dirty="0">
                        <a:solidFill>
                          <a:schemeClr val="tx1"/>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5357102"/>
                  </a:ext>
                </a:extLst>
              </a:tr>
              <a:tr h="291477">
                <a:tc>
                  <a:txBody>
                    <a:bodyPr/>
                    <a:lstStyle/>
                    <a:p>
                      <a:pPr marL="0" indent="0" algn="ctr">
                        <a:buFont typeface="Wingdings" panose="05000000000000000000" pitchFamily="2" charset="2"/>
                        <a:buNone/>
                      </a:pPr>
                      <a:r>
                        <a:rPr kumimoji="1" lang="en-US" altLang="ja-JP" sz="1100" b="0" dirty="0">
                          <a:solidFill>
                            <a:schemeClr val="tx1"/>
                          </a:solidFill>
                        </a:rPr>
                        <a:t>4</a:t>
                      </a:r>
                      <a:endParaRPr kumimoji="1" lang="ja-JP" altLang="en-US" sz="1100" b="0" dirty="0">
                        <a:solidFill>
                          <a:schemeClr val="tx1"/>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1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3903404"/>
                  </a:ext>
                </a:extLst>
              </a:tr>
            </a:tbl>
          </a:graphicData>
        </a:graphic>
      </p:graphicFrame>
      <p:grpSp>
        <p:nvGrpSpPr>
          <p:cNvPr id="2" name="グループ化 1">
            <a:extLst>
              <a:ext uri="{FF2B5EF4-FFF2-40B4-BE49-F238E27FC236}">
                <a16:creationId xmlns:a16="http://schemas.microsoft.com/office/drawing/2014/main" id="{BDF3261C-8031-104A-C109-49810E3287BA}"/>
              </a:ext>
            </a:extLst>
          </p:cNvPr>
          <p:cNvGrpSpPr/>
          <p:nvPr/>
        </p:nvGrpSpPr>
        <p:grpSpPr>
          <a:xfrm>
            <a:off x="200114" y="1513902"/>
            <a:ext cx="9456583" cy="1388064"/>
            <a:chOff x="200115" y="5222341"/>
            <a:chExt cx="9456583" cy="1388064"/>
          </a:xfrm>
        </p:grpSpPr>
        <p:sp>
          <p:nvSpPr>
            <p:cNvPr id="34" name="正方形/長方形 33">
              <a:extLst>
                <a:ext uri="{FF2B5EF4-FFF2-40B4-BE49-F238E27FC236}">
                  <a16:creationId xmlns:a16="http://schemas.microsoft.com/office/drawing/2014/main" id="{99CB6B6E-91F7-375B-A587-F6D2DBE2FD02}"/>
                </a:ext>
              </a:extLst>
            </p:cNvPr>
            <p:cNvSpPr/>
            <p:nvPr/>
          </p:nvSpPr>
          <p:spPr bwMode="gray">
            <a:xfrm>
              <a:off x="869623" y="6051016"/>
              <a:ext cx="3996000" cy="559389"/>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実証を行う想定期間を記載すること</a:t>
              </a:r>
              <a:endParaRPr kumimoji="1" lang="en-US" altLang="ja-JP" sz="1200" b="1" u="sng" dirty="0">
                <a:solidFill>
                  <a:prstClr val="black"/>
                </a:solidFill>
                <a:latin typeface="+mn-lt"/>
                <a:cs typeface="+mn-cs"/>
              </a:endParaRPr>
            </a:p>
          </p:txBody>
        </p:sp>
        <p:sp>
          <p:nvSpPr>
            <p:cNvPr id="35" name="正方形/長方形 34">
              <a:extLst>
                <a:ext uri="{FF2B5EF4-FFF2-40B4-BE49-F238E27FC236}">
                  <a16:creationId xmlns:a16="http://schemas.microsoft.com/office/drawing/2014/main" id="{8FB1141B-9D03-733D-BD18-39B5B0BC5CA1}"/>
                </a:ext>
              </a:extLst>
            </p:cNvPr>
            <p:cNvSpPr/>
            <p:nvPr/>
          </p:nvSpPr>
          <p:spPr bwMode="gray">
            <a:xfrm>
              <a:off x="5660698" y="6051016"/>
              <a:ext cx="3996000" cy="559389"/>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200" b="1" u="sng" dirty="0">
                  <a:solidFill>
                    <a:prstClr val="black"/>
                  </a:solidFill>
                </a:rPr>
                <a:t>実証を行う想定の市町村名やエリア名を記載すること。詳細な施設や場所等があれば併せて記載すること。 </a:t>
              </a:r>
              <a:endParaRPr kumimoji="1" lang="en-US" altLang="ja-JP" sz="1200" b="1" u="sng" dirty="0">
                <a:solidFill>
                  <a:prstClr val="black"/>
                </a:solidFill>
              </a:endParaRPr>
            </a:p>
          </p:txBody>
        </p:sp>
        <p:sp>
          <p:nvSpPr>
            <p:cNvPr id="36" name="正方形/長方形 35">
              <a:extLst>
                <a:ext uri="{FF2B5EF4-FFF2-40B4-BE49-F238E27FC236}">
                  <a16:creationId xmlns:a16="http://schemas.microsoft.com/office/drawing/2014/main" id="{50AF7EBA-B822-ADDF-A7FF-7562664FB7CB}"/>
                </a:ext>
              </a:extLst>
            </p:cNvPr>
            <p:cNvSpPr/>
            <p:nvPr/>
          </p:nvSpPr>
          <p:spPr bwMode="gray">
            <a:xfrm>
              <a:off x="865124" y="5222342"/>
              <a:ext cx="8791574" cy="796568"/>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200" b="1" u="sng" dirty="0">
                  <a:solidFill>
                    <a:prstClr val="black"/>
                  </a:solidFill>
                  <a:latin typeface="+mn-lt"/>
                  <a:cs typeface="+mn-cs"/>
                </a:rPr>
                <a:t>実証するにあたってのターゲット（ソリューションにより恩恵を受ける人・団体・事業者等）を記載すること。</a:t>
              </a:r>
              <a:r>
                <a:rPr kumimoji="1" lang="ja-JP" altLang="en-US" sz="1200" b="1" u="sng" dirty="0">
                  <a:solidFill>
                    <a:prstClr val="black"/>
                  </a:solidFill>
                </a:rPr>
                <a:t>住民、観光客、行政職員、域内事業者等のどのような区分を設定するのか、どのような課題をもつ方をターゲットにするか等を記載すること。</a:t>
              </a:r>
              <a:endParaRPr kumimoji="1" lang="en-US" altLang="ja-JP" sz="1200" b="1" u="sng" dirty="0">
                <a:solidFill>
                  <a:prstClr val="black"/>
                </a:solidFill>
                <a:latin typeface="+mn-lt"/>
                <a:cs typeface="+mn-cs"/>
              </a:endParaRPr>
            </a:p>
          </p:txBody>
        </p:sp>
        <p:sp>
          <p:nvSpPr>
            <p:cNvPr id="37" name="正方形/長方形 36">
              <a:extLst>
                <a:ext uri="{FF2B5EF4-FFF2-40B4-BE49-F238E27FC236}">
                  <a16:creationId xmlns:a16="http://schemas.microsoft.com/office/drawing/2014/main" id="{A07828E0-010B-69A2-129B-96B9B6F81B24}"/>
                </a:ext>
              </a:extLst>
            </p:cNvPr>
            <p:cNvSpPr/>
            <p:nvPr/>
          </p:nvSpPr>
          <p:spPr bwMode="gray">
            <a:xfrm>
              <a:off x="200115" y="5222341"/>
              <a:ext cx="609600" cy="772599"/>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ターゲット</a:t>
              </a:r>
            </a:p>
          </p:txBody>
        </p:sp>
        <p:sp>
          <p:nvSpPr>
            <p:cNvPr id="38" name="正方形/長方形 37">
              <a:extLst>
                <a:ext uri="{FF2B5EF4-FFF2-40B4-BE49-F238E27FC236}">
                  <a16:creationId xmlns:a16="http://schemas.microsoft.com/office/drawing/2014/main" id="{DC18D4D6-F49D-7B27-779D-353C00513C8B}"/>
                </a:ext>
              </a:extLst>
            </p:cNvPr>
            <p:cNvSpPr/>
            <p:nvPr/>
          </p:nvSpPr>
          <p:spPr bwMode="gray">
            <a:xfrm>
              <a:off x="200115" y="6051016"/>
              <a:ext cx="609600" cy="559389"/>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証</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期間</a:t>
              </a:r>
            </a:p>
          </p:txBody>
        </p:sp>
        <p:sp>
          <p:nvSpPr>
            <p:cNvPr id="39" name="正方形/長方形 38">
              <a:extLst>
                <a:ext uri="{FF2B5EF4-FFF2-40B4-BE49-F238E27FC236}">
                  <a16:creationId xmlns:a16="http://schemas.microsoft.com/office/drawing/2014/main" id="{B20C5307-968D-D132-4EF6-F630EA82AB12}"/>
                </a:ext>
              </a:extLst>
            </p:cNvPr>
            <p:cNvSpPr/>
            <p:nvPr/>
          </p:nvSpPr>
          <p:spPr bwMode="gray">
            <a:xfrm>
              <a:off x="4962615" y="6051016"/>
              <a:ext cx="609600" cy="559389"/>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証</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場所</a:t>
              </a:r>
            </a:p>
          </p:txBody>
        </p:sp>
      </p:grpSp>
      <p:sp>
        <p:nvSpPr>
          <p:cNvPr id="41" name="正方形/長方形 40">
            <a:extLst>
              <a:ext uri="{FF2B5EF4-FFF2-40B4-BE49-F238E27FC236}">
                <a16:creationId xmlns:a16="http://schemas.microsoft.com/office/drawing/2014/main" id="{015BA85D-E1C8-F3BD-D929-968D9ED10566}"/>
              </a:ext>
            </a:extLst>
          </p:cNvPr>
          <p:cNvSpPr/>
          <p:nvPr/>
        </p:nvSpPr>
        <p:spPr bwMode="gray">
          <a:xfrm>
            <a:off x="200114" y="1250416"/>
            <a:ext cx="9504000" cy="216000"/>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証・</a:t>
            </a:r>
            <a:r>
              <a:rPr kumimoji="1" lang="ja-JP" altLang="en-US" sz="1200" dirty="0">
                <a:solidFill>
                  <a:schemeClr val="bg1"/>
                </a:solidFill>
                <a:latin typeface="+mn-lt"/>
                <a:cs typeface="+mn-cs"/>
              </a:rPr>
              <a:t>検証</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内容</a:t>
            </a:r>
          </a:p>
        </p:txBody>
      </p:sp>
      <p:sp>
        <p:nvSpPr>
          <p:cNvPr id="42" name="正方形/長方形 41">
            <a:extLst>
              <a:ext uri="{FF2B5EF4-FFF2-40B4-BE49-F238E27FC236}">
                <a16:creationId xmlns:a16="http://schemas.microsoft.com/office/drawing/2014/main" id="{C8337DC0-9B56-AB10-F613-96E4B77B1610}"/>
              </a:ext>
            </a:extLst>
          </p:cNvPr>
          <p:cNvSpPr/>
          <p:nvPr/>
        </p:nvSpPr>
        <p:spPr bwMode="gray">
          <a:xfrm>
            <a:off x="898198" y="2962692"/>
            <a:ext cx="8805916" cy="1869698"/>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u="sng" dirty="0">
                <a:solidFill>
                  <a:prstClr val="black"/>
                </a:solidFill>
                <a:latin typeface="+mn-lt"/>
                <a:cs typeface="+mn-cs"/>
              </a:rPr>
              <a:t>実証実験の概要を記載すること</a:t>
            </a: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3" name="正方形/長方形 42">
            <a:extLst>
              <a:ext uri="{FF2B5EF4-FFF2-40B4-BE49-F238E27FC236}">
                <a16:creationId xmlns:a16="http://schemas.microsoft.com/office/drawing/2014/main" id="{BBEA64A4-0FEF-2D11-3AC8-3186DE0CBB06}"/>
              </a:ext>
            </a:extLst>
          </p:cNvPr>
          <p:cNvSpPr/>
          <p:nvPr/>
        </p:nvSpPr>
        <p:spPr bwMode="gray">
          <a:xfrm>
            <a:off x="200115" y="2962692"/>
            <a:ext cx="609600" cy="1869698"/>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証</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内容</a:t>
            </a:r>
          </a:p>
        </p:txBody>
      </p:sp>
      <p:sp>
        <p:nvSpPr>
          <p:cNvPr id="44" name="正方形/長方形 43">
            <a:extLst>
              <a:ext uri="{FF2B5EF4-FFF2-40B4-BE49-F238E27FC236}">
                <a16:creationId xmlns:a16="http://schemas.microsoft.com/office/drawing/2014/main" id="{D4CBC450-4D8D-4FEA-92D0-CF51E1AC5E8A}"/>
              </a:ext>
            </a:extLst>
          </p:cNvPr>
          <p:cNvSpPr/>
          <p:nvPr/>
        </p:nvSpPr>
        <p:spPr bwMode="gray">
          <a:xfrm>
            <a:off x="200115" y="5124450"/>
            <a:ext cx="609600" cy="1403890"/>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想定する検証</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内容</a:t>
            </a:r>
          </a:p>
        </p:txBody>
      </p:sp>
      <p:cxnSp>
        <p:nvCxnSpPr>
          <p:cNvPr id="54" name="直線矢印コネクタ 53">
            <a:extLst>
              <a:ext uri="{FF2B5EF4-FFF2-40B4-BE49-F238E27FC236}">
                <a16:creationId xmlns:a16="http://schemas.microsoft.com/office/drawing/2014/main" id="{7639D88D-CA18-2A08-8A68-80AE2AAE384C}"/>
              </a:ext>
            </a:extLst>
          </p:cNvPr>
          <p:cNvCxnSpPr>
            <a:cxnSpLocks/>
            <a:stCxn id="42" idx="2"/>
          </p:cNvCxnSpPr>
          <p:nvPr/>
        </p:nvCxnSpPr>
        <p:spPr bwMode="gray">
          <a:xfrm>
            <a:off x="5301156" y="4832390"/>
            <a:ext cx="0" cy="320635"/>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38A3D28F-5536-50CA-F80B-0589E3DE67D2}"/>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②</a:t>
            </a:r>
          </a:p>
        </p:txBody>
      </p:sp>
      <p:sp>
        <p:nvSpPr>
          <p:cNvPr id="4" name="正方形/長方形 3">
            <a:extLst>
              <a:ext uri="{FF2B5EF4-FFF2-40B4-BE49-F238E27FC236}">
                <a16:creationId xmlns:a16="http://schemas.microsoft.com/office/drawing/2014/main" id="{DE0649F8-6C3F-2E4E-FCFB-C061B723E989}"/>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dirty="0">
                <a:solidFill>
                  <a:srgbClr val="C00000"/>
                </a:solidFill>
                <a:latin typeface="+mn-ea"/>
                <a:cs typeface="+mn-cs"/>
              </a:rPr>
              <a:t>※</a:t>
            </a:r>
            <a:r>
              <a:rPr kumimoji="1" lang="ja-JP" altLang="en-US" sz="1050" b="0" i="0" u="none" strike="noStrike" kern="1200" cap="none" spc="0" normalizeH="0" baseline="0" noProof="0" dirty="0">
                <a:ln>
                  <a:noFill/>
                </a:ln>
                <a:solidFill>
                  <a:srgbClr val="C00000"/>
                </a:solidFill>
                <a:effectLst/>
                <a:uLnTx/>
                <a:uFillTx/>
                <a:latin typeface="+mn-ea"/>
                <a:cs typeface="+mn-cs"/>
              </a:rPr>
              <a:t>各枠の大きさを調整いただくことは可能ですが</a:t>
            </a:r>
            <a:r>
              <a:rPr kumimoji="1" lang="ja-JP" altLang="en-US" sz="1050" dirty="0">
                <a:solidFill>
                  <a:srgbClr val="C00000"/>
                </a:solidFill>
                <a:latin typeface="+mn-ea"/>
                <a:cs typeface="+mn-cs"/>
              </a:rPr>
              <a:t>、上記内容を全て</a:t>
            </a:r>
            <a:r>
              <a:rPr kumimoji="1" lang="en-US" altLang="ja-JP" sz="1050" dirty="0">
                <a:solidFill>
                  <a:srgbClr val="C00000"/>
                </a:solidFill>
                <a:latin typeface="+mn-ea"/>
                <a:cs typeface="+mn-cs"/>
              </a:rPr>
              <a:t>1</a:t>
            </a:r>
            <a:r>
              <a:rPr kumimoji="1" lang="ja-JP" altLang="en-US" sz="1050" dirty="0">
                <a:solidFill>
                  <a:srgbClr val="C00000"/>
                </a:solidFill>
                <a:latin typeface="+mn-ea"/>
                <a:cs typeface="+mn-cs"/>
              </a:rPr>
              <a:t>枚以内でご記載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15616418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CFFFD-AFFD-7686-083B-C005785D73DF}"/>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97EEE0C-0BCC-75C8-EBE0-606FB06B0B62}"/>
              </a:ext>
            </a:extLst>
          </p:cNvPr>
          <p:cNvSpPr>
            <a:spLocks noGrp="1"/>
          </p:cNvSpPr>
          <p:nvPr>
            <p:ph type="sldNum" sz="quarter" idx="11"/>
          </p:nvPr>
        </p:nvSpPr>
        <p:spPr/>
        <p:txBody>
          <a:bodyPr/>
          <a:lstStyle/>
          <a:p>
            <a:fld id="{AA5FCFE5-FE56-4EF1-80A8-07776887C2A1}" type="slidenum">
              <a:rPr lang="ja-JP" altLang="en-US" smtClean="0"/>
              <a:pPr/>
              <a:t>16</a:t>
            </a:fld>
            <a:endParaRPr lang="ja-JP" altLang="en-US"/>
          </a:p>
        </p:txBody>
      </p:sp>
      <p:sp>
        <p:nvSpPr>
          <p:cNvPr id="8" name="正方形/長方形 7">
            <a:extLst>
              <a:ext uri="{FF2B5EF4-FFF2-40B4-BE49-F238E27FC236}">
                <a16:creationId xmlns:a16="http://schemas.microsoft.com/office/drawing/2014/main" id="{BD3D1ED0-AF1C-F1FF-56A0-FC62493A54B7}"/>
              </a:ext>
            </a:extLst>
          </p:cNvPr>
          <p:cNvSpPr/>
          <p:nvPr/>
        </p:nvSpPr>
        <p:spPr bwMode="gray">
          <a:xfrm>
            <a:off x="220816" y="892423"/>
            <a:ext cx="9494682" cy="5695577"/>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u="sng" dirty="0">
                <a:solidFill>
                  <a:prstClr val="black"/>
                </a:solidFill>
                <a:latin typeface="+mn-lt"/>
                <a:cs typeface="+mn-cs"/>
              </a:rPr>
              <a:t>前頁で記述した実証実験内容について補足情報や参考情報があれば記載すること。</a:t>
            </a:r>
            <a:endParaRPr kumimoji="1" lang="en-US" altLang="ja-JP" sz="1200" b="1" u="sng" dirty="0">
              <a:solidFill>
                <a:prstClr val="black"/>
              </a:solidFill>
              <a:latin typeface="+mn-lt"/>
              <a:cs typeface="+mn-cs"/>
            </a:endParaRPr>
          </a:p>
        </p:txBody>
      </p:sp>
      <p:sp>
        <p:nvSpPr>
          <p:cNvPr id="12" name="正方形/長方形 11">
            <a:extLst>
              <a:ext uri="{FF2B5EF4-FFF2-40B4-BE49-F238E27FC236}">
                <a16:creationId xmlns:a16="http://schemas.microsoft.com/office/drawing/2014/main" id="{497133BE-6F61-B47B-6C83-7FCE9FD64014}"/>
              </a:ext>
            </a:extLst>
          </p:cNvPr>
          <p:cNvSpPr/>
          <p:nvPr/>
        </p:nvSpPr>
        <p:spPr bwMode="gray">
          <a:xfrm>
            <a:off x="132713" y="576550"/>
            <a:ext cx="2160000"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証実験内容の詳細</a:t>
            </a:r>
            <a:endParaRPr kumimoji="1" lang="en-US" altLang="ja-JP" sz="1200" b="1" dirty="0">
              <a:latin typeface="+mj-ea"/>
              <a:ea typeface="+mj-ea"/>
              <a:cs typeface="+mn-cs"/>
            </a:endParaRPr>
          </a:p>
        </p:txBody>
      </p:sp>
      <p:sp>
        <p:nvSpPr>
          <p:cNvPr id="5" name="テキスト ボックス 4">
            <a:extLst>
              <a:ext uri="{FF2B5EF4-FFF2-40B4-BE49-F238E27FC236}">
                <a16:creationId xmlns:a16="http://schemas.microsoft.com/office/drawing/2014/main" id="{A37CD4AB-43BC-C917-3683-2C2C3E79D1BD}"/>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②</a:t>
            </a:r>
          </a:p>
        </p:txBody>
      </p:sp>
      <p:sp>
        <p:nvSpPr>
          <p:cNvPr id="3" name="四角形: 角を丸くする 2">
            <a:extLst>
              <a:ext uri="{FF2B5EF4-FFF2-40B4-BE49-F238E27FC236}">
                <a16:creationId xmlns:a16="http://schemas.microsoft.com/office/drawing/2014/main" id="{AAF513A6-BDC9-048C-4937-C4CE0BF79C4C}"/>
              </a:ext>
            </a:extLst>
          </p:cNvPr>
          <p:cNvSpPr/>
          <p:nvPr/>
        </p:nvSpPr>
        <p:spPr bwMode="gray">
          <a:xfrm>
            <a:off x="6543675" y="576062"/>
            <a:ext cx="3171823" cy="221018"/>
          </a:xfrm>
          <a:prstGeom prst="roundRect">
            <a:avLst>
              <a:gd name="adj" fmla="val 50000"/>
            </a:avLst>
          </a:prstGeom>
          <a:solidFill>
            <a:srgbClr val="FFCCFF"/>
          </a:solidFill>
          <a:ln w="12700" algn="ctr">
            <a:solidFill>
              <a:srgbClr val="CC99FF"/>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本項目は３枚まで複写して記載いただけます</a:t>
            </a:r>
          </a:p>
        </p:txBody>
      </p:sp>
    </p:spTree>
    <p:extLst>
      <p:ext uri="{BB962C8B-B14F-4D97-AF65-F5344CB8AC3E}">
        <p14:creationId xmlns:p14="http://schemas.microsoft.com/office/powerpoint/2010/main" val="2490997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6AF55CC-0BE5-512E-DC6D-17D97E3F65C9}"/>
              </a:ext>
            </a:extLst>
          </p:cNvPr>
          <p:cNvSpPr>
            <a:spLocks noGrp="1"/>
          </p:cNvSpPr>
          <p:nvPr>
            <p:ph type="sldNum" sz="quarter" idx="11"/>
          </p:nvPr>
        </p:nvSpPr>
        <p:spPr/>
        <p:txBody>
          <a:bodyPr/>
          <a:lstStyle/>
          <a:p>
            <a:fld id="{AA5FCFE5-FE56-4EF1-80A8-07776887C2A1}" type="slidenum">
              <a:rPr lang="ja-JP" altLang="en-US" smtClean="0"/>
              <a:pPr/>
              <a:t>17</a:t>
            </a:fld>
            <a:endParaRPr lang="ja-JP" altLang="en-US"/>
          </a:p>
        </p:txBody>
      </p:sp>
      <p:graphicFrame>
        <p:nvGraphicFramePr>
          <p:cNvPr id="13" name="表 12">
            <a:extLst>
              <a:ext uri="{FF2B5EF4-FFF2-40B4-BE49-F238E27FC236}">
                <a16:creationId xmlns:a16="http://schemas.microsoft.com/office/drawing/2014/main" id="{2937528A-CC9B-D66B-0792-E72C0F5E71C7}"/>
              </a:ext>
            </a:extLst>
          </p:cNvPr>
          <p:cNvGraphicFramePr>
            <a:graphicFrameLocks noGrp="1"/>
          </p:cNvGraphicFramePr>
          <p:nvPr>
            <p:extLst>
              <p:ext uri="{D42A27DB-BD31-4B8C-83A1-F6EECF244321}">
                <p14:modId xmlns:p14="http://schemas.microsoft.com/office/powerpoint/2010/main" val="3714403286"/>
              </p:ext>
            </p:extLst>
          </p:nvPr>
        </p:nvGraphicFramePr>
        <p:xfrm>
          <a:off x="716692" y="852707"/>
          <a:ext cx="8787696" cy="2331720"/>
        </p:xfrm>
        <a:graphic>
          <a:graphicData uri="http://schemas.openxmlformats.org/drawingml/2006/table">
            <a:tbl>
              <a:tblPr firstRow="1" bandRow="1">
                <a:tableStyleId>{073A0DAA-6AF3-43AB-8588-CEC1D06C72B9}</a:tableStyleId>
              </a:tblPr>
              <a:tblGrid>
                <a:gridCol w="2929232">
                  <a:extLst>
                    <a:ext uri="{9D8B030D-6E8A-4147-A177-3AD203B41FA5}">
                      <a16:colId xmlns:a16="http://schemas.microsoft.com/office/drawing/2014/main" val="2223396423"/>
                    </a:ext>
                  </a:extLst>
                </a:gridCol>
                <a:gridCol w="2929232">
                  <a:extLst>
                    <a:ext uri="{9D8B030D-6E8A-4147-A177-3AD203B41FA5}">
                      <a16:colId xmlns:a16="http://schemas.microsoft.com/office/drawing/2014/main" val="3579205061"/>
                    </a:ext>
                  </a:extLst>
                </a:gridCol>
                <a:gridCol w="2929232">
                  <a:extLst>
                    <a:ext uri="{9D8B030D-6E8A-4147-A177-3AD203B41FA5}">
                      <a16:colId xmlns:a16="http://schemas.microsoft.com/office/drawing/2014/main" val="2080099290"/>
                    </a:ext>
                  </a:extLst>
                </a:gridCol>
              </a:tblGrid>
              <a:tr h="185276">
                <a:tc>
                  <a:txBody>
                    <a:bodyPr/>
                    <a:lstStyle/>
                    <a:p>
                      <a:pPr algn="ctr"/>
                      <a:r>
                        <a:rPr kumimoji="1" lang="ja-JP" altLang="en-US" sz="1100" dirty="0"/>
                        <a:t>科目</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100" dirty="0"/>
                        <a:t>予算額（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100" dirty="0"/>
                        <a:t>備考</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650274868"/>
                  </a:ext>
                </a:extLst>
              </a:tr>
              <a:tr h="185276">
                <a:tc>
                  <a:txBody>
                    <a:bodyPr/>
                    <a:lstStyle/>
                    <a:p>
                      <a:r>
                        <a:rPr kumimoji="1" lang="ja-JP" altLang="en-US" sz="1100" dirty="0"/>
                        <a:t>本県補助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t>地域課題等検討</a:t>
                      </a:r>
                      <a:r>
                        <a:rPr kumimoji="1" lang="en-US" altLang="ja-JP" sz="1100" dirty="0"/>
                        <a:t>WG</a:t>
                      </a:r>
                      <a:r>
                        <a:rPr kumimoji="1" lang="ja-JP" altLang="en-US" sz="1100" dirty="0"/>
                        <a:t>実証実験補助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4743687"/>
                  </a:ext>
                </a:extLst>
              </a:tr>
              <a:tr h="185276">
                <a:tc>
                  <a:txBody>
                    <a:bodyPr/>
                    <a:lstStyle/>
                    <a:p>
                      <a:r>
                        <a:rPr kumimoji="1" lang="ja-JP" altLang="en-US" sz="1100" dirty="0"/>
                        <a:t>自己資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9643158"/>
                  </a:ext>
                </a:extLst>
              </a:tr>
              <a:tr h="185276">
                <a:tc>
                  <a:txBody>
                    <a:bodyPr/>
                    <a:lstStyle/>
                    <a:p>
                      <a:r>
                        <a:rPr kumimoji="1" lang="ja-JP" altLang="en-US" sz="1100" dirty="0"/>
                        <a:t>借入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7814640"/>
                  </a:ext>
                </a:extLst>
              </a:tr>
              <a:tr h="185276">
                <a:tc>
                  <a:txBody>
                    <a:bodyPr/>
                    <a:lstStyle/>
                    <a:p>
                      <a:r>
                        <a:rPr kumimoji="1" lang="ja-JP" altLang="en-US" sz="1100" dirty="0"/>
                        <a:t>その他</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100" b="1" u="sng" dirty="0"/>
                        <a:t>内訳があれば記載すること。</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87281462"/>
                  </a:ext>
                </a:extLst>
              </a:tr>
              <a:tr h="185276">
                <a:tc>
                  <a:txBody>
                    <a:bodyPr/>
                    <a:lstStyle/>
                    <a:p>
                      <a:endParaRPr kumimoji="1" lang="ja-JP" altLang="en-US" sz="11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4432400"/>
                  </a:ext>
                </a:extLst>
              </a:tr>
              <a:tr h="185276">
                <a:tc>
                  <a:txBody>
                    <a:bodyPr/>
                    <a:lstStyle/>
                    <a:p>
                      <a:endParaRPr kumimoji="1" lang="ja-JP" altLang="en-US" sz="11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4612321"/>
                  </a:ext>
                </a:extLst>
              </a:tr>
              <a:tr h="185276">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8585750"/>
                  </a:ext>
                </a:extLst>
              </a:tr>
              <a:tr h="185276">
                <a:tc>
                  <a:txBody>
                    <a:bodyPr/>
                    <a:lstStyle/>
                    <a:p>
                      <a:pPr algn="ctr"/>
                      <a:r>
                        <a:rPr kumimoji="1" lang="ja-JP" altLang="en-US" sz="1100" b="1" dirty="0"/>
                        <a:t>合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3177169"/>
                  </a:ext>
                </a:extLst>
              </a:tr>
            </a:tbl>
          </a:graphicData>
        </a:graphic>
      </p:graphicFrame>
      <p:sp>
        <p:nvSpPr>
          <p:cNvPr id="16" name="正方形/長方形 15">
            <a:extLst>
              <a:ext uri="{FF2B5EF4-FFF2-40B4-BE49-F238E27FC236}">
                <a16:creationId xmlns:a16="http://schemas.microsoft.com/office/drawing/2014/main" id="{B4B18D5B-ED3E-B111-956C-6AD7588EDB64}"/>
              </a:ext>
            </a:extLst>
          </p:cNvPr>
          <p:cNvSpPr/>
          <p:nvPr/>
        </p:nvSpPr>
        <p:spPr bwMode="gray">
          <a:xfrm>
            <a:off x="132711" y="576550"/>
            <a:ext cx="3079719"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証実験に関する収支予算（概算）</a:t>
            </a:r>
            <a:endParaRPr kumimoji="1" lang="en-US" altLang="ja-JP" sz="1200" b="1" dirty="0">
              <a:latin typeface="+mj-ea"/>
              <a:ea typeface="+mj-ea"/>
              <a:cs typeface="+mn-cs"/>
            </a:endParaRPr>
          </a:p>
        </p:txBody>
      </p:sp>
      <p:sp>
        <p:nvSpPr>
          <p:cNvPr id="17" name="正方形/長方形 16">
            <a:extLst>
              <a:ext uri="{FF2B5EF4-FFF2-40B4-BE49-F238E27FC236}">
                <a16:creationId xmlns:a16="http://schemas.microsoft.com/office/drawing/2014/main" id="{76C23589-2F8B-F5D3-141B-EA9F4267A88C}"/>
              </a:ext>
            </a:extLst>
          </p:cNvPr>
          <p:cNvSpPr/>
          <p:nvPr/>
        </p:nvSpPr>
        <p:spPr bwMode="gray">
          <a:xfrm>
            <a:off x="200115" y="852706"/>
            <a:ext cx="397485" cy="2331721"/>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収入</a:t>
            </a:r>
          </a:p>
        </p:txBody>
      </p:sp>
      <p:graphicFrame>
        <p:nvGraphicFramePr>
          <p:cNvPr id="18" name="表 17">
            <a:extLst>
              <a:ext uri="{FF2B5EF4-FFF2-40B4-BE49-F238E27FC236}">
                <a16:creationId xmlns:a16="http://schemas.microsoft.com/office/drawing/2014/main" id="{AB9B8056-0565-FAE1-130E-E6EAD45A2887}"/>
              </a:ext>
            </a:extLst>
          </p:cNvPr>
          <p:cNvGraphicFramePr>
            <a:graphicFrameLocks noGrp="1"/>
          </p:cNvGraphicFramePr>
          <p:nvPr>
            <p:extLst>
              <p:ext uri="{D42A27DB-BD31-4B8C-83A1-F6EECF244321}">
                <p14:modId xmlns:p14="http://schemas.microsoft.com/office/powerpoint/2010/main" val="175637770"/>
              </p:ext>
            </p:extLst>
          </p:nvPr>
        </p:nvGraphicFramePr>
        <p:xfrm>
          <a:off x="716692" y="3239566"/>
          <a:ext cx="8782351" cy="2849880"/>
        </p:xfrm>
        <a:graphic>
          <a:graphicData uri="http://schemas.openxmlformats.org/drawingml/2006/table">
            <a:tbl>
              <a:tblPr firstRow="1" bandRow="1">
                <a:tableStyleId>{073A0DAA-6AF3-43AB-8588-CEC1D06C72B9}</a:tableStyleId>
              </a:tblPr>
              <a:tblGrid>
                <a:gridCol w="2931383">
                  <a:extLst>
                    <a:ext uri="{9D8B030D-6E8A-4147-A177-3AD203B41FA5}">
                      <a16:colId xmlns:a16="http://schemas.microsoft.com/office/drawing/2014/main" val="2223396423"/>
                    </a:ext>
                  </a:extLst>
                </a:gridCol>
                <a:gridCol w="2933700">
                  <a:extLst>
                    <a:ext uri="{9D8B030D-6E8A-4147-A177-3AD203B41FA5}">
                      <a16:colId xmlns:a16="http://schemas.microsoft.com/office/drawing/2014/main" val="3579205061"/>
                    </a:ext>
                  </a:extLst>
                </a:gridCol>
                <a:gridCol w="2917268">
                  <a:extLst>
                    <a:ext uri="{9D8B030D-6E8A-4147-A177-3AD203B41FA5}">
                      <a16:colId xmlns:a16="http://schemas.microsoft.com/office/drawing/2014/main" val="2080099290"/>
                    </a:ext>
                  </a:extLst>
                </a:gridCol>
              </a:tblGrid>
              <a:tr h="242299">
                <a:tc>
                  <a:txBody>
                    <a:bodyPr/>
                    <a:lstStyle/>
                    <a:p>
                      <a:pPr algn="ctr"/>
                      <a:r>
                        <a:rPr kumimoji="1" lang="ja-JP" altLang="en-US" sz="1100" dirty="0"/>
                        <a:t>費目</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100" dirty="0"/>
                        <a:t>予算額（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100" dirty="0"/>
                        <a:t>備考</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650274868"/>
                  </a:ext>
                </a:extLst>
              </a:tr>
              <a:tr h="242299">
                <a:tc>
                  <a:txBody>
                    <a:bodyPr/>
                    <a:lstStyle/>
                    <a:p>
                      <a:r>
                        <a:rPr kumimoji="1" lang="en-US" altLang="ja-JP" sz="1100" dirty="0"/>
                        <a:t>XXXX</a:t>
                      </a:r>
                      <a:r>
                        <a:rPr kumimoji="1" lang="ja-JP" altLang="en-US" sz="1100" dirty="0"/>
                        <a:t>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4743687"/>
                  </a:ext>
                </a:extLst>
              </a:tr>
              <a:tr h="242299">
                <a:tc>
                  <a:txBody>
                    <a:bodyPr/>
                    <a:lstStyle/>
                    <a:p>
                      <a:r>
                        <a:rPr kumimoji="1" lang="en-US" altLang="ja-JP" sz="1100" dirty="0"/>
                        <a:t>XXXX</a:t>
                      </a:r>
                      <a:r>
                        <a:rPr kumimoji="1" lang="ja-JP" altLang="en-US" sz="1100" dirty="0"/>
                        <a:t>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9643158"/>
                  </a:ext>
                </a:extLst>
              </a:tr>
              <a:tr h="242299">
                <a:tc>
                  <a:txBody>
                    <a:bodyPr/>
                    <a:lstStyle/>
                    <a:p>
                      <a:r>
                        <a:rPr kumimoji="1" lang="en-US" altLang="ja-JP" sz="1100" dirty="0"/>
                        <a:t>XXXX</a:t>
                      </a:r>
                      <a:r>
                        <a:rPr kumimoji="1" lang="ja-JP" altLang="en-US" sz="1100" dirty="0"/>
                        <a:t>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7814640"/>
                  </a:ext>
                </a:extLst>
              </a:tr>
              <a:tr h="242299">
                <a:tc>
                  <a:txBody>
                    <a:bodyPr/>
                    <a:lstStyle/>
                    <a:p>
                      <a:r>
                        <a:rPr kumimoji="1" lang="en-US" altLang="ja-JP" sz="1100" dirty="0"/>
                        <a:t>XXXX</a:t>
                      </a:r>
                      <a:r>
                        <a:rPr kumimoji="1" lang="ja-JP" altLang="en-US" sz="1100" dirty="0"/>
                        <a:t>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87281462"/>
                  </a:ext>
                </a:extLst>
              </a:tr>
              <a:tr h="242299">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8585750"/>
                  </a:ext>
                </a:extLst>
              </a:tr>
              <a:tr h="242299">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886039"/>
                  </a:ext>
                </a:extLst>
              </a:tr>
              <a:tr h="242299">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4833494"/>
                  </a:ext>
                </a:extLst>
              </a:tr>
              <a:tr h="242299">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4815227"/>
                  </a:ext>
                </a:extLst>
              </a:tr>
              <a:tr h="242299">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2253934"/>
                  </a:ext>
                </a:extLst>
              </a:tr>
              <a:tr h="242299">
                <a:tc>
                  <a:txBody>
                    <a:bodyPr/>
                    <a:lstStyle/>
                    <a:p>
                      <a:pPr algn="ctr"/>
                      <a:r>
                        <a:rPr kumimoji="1" lang="ja-JP" altLang="en-US" sz="1100" b="1" dirty="0"/>
                        <a:t>合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1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3177169"/>
                  </a:ext>
                </a:extLst>
              </a:tr>
            </a:tbl>
          </a:graphicData>
        </a:graphic>
      </p:graphicFrame>
      <p:sp>
        <p:nvSpPr>
          <p:cNvPr id="19" name="正方形/長方形 18">
            <a:extLst>
              <a:ext uri="{FF2B5EF4-FFF2-40B4-BE49-F238E27FC236}">
                <a16:creationId xmlns:a16="http://schemas.microsoft.com/office/drawing/2014/main" id="{7A11229B-E4E2-701D-1A32-DB49CD3141F9}"/>
              </a:ext>
            </a:extLst>
          </p:cNvPr>
          <p:cNvSpPr/>
          <p:nvPr/>
        </p:nvSpPr>
        <p:spPr bwMode="gray">
          <a:xfrm>
            <a:off x="200115" y="3239566"/>
            <a:ext cx="397485" cy="2849880"/>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支出</a:t>
            </a:r>
          </a:p>
        </p:txBody>
      </p:sp>
      <p:sp>
        <p:nvSpPr>
          <p:cNvPr id="5" name="テキスト ボックス 4">
            <a:extLst>
              <a:ext uri="{FF2B5EF4-FFF2-40B4-BE49-F238E27FC236}">
                <a16:creationId xmlns:a16="http://schemas.microsoft.com/office/drawing/2014/main" id="{A892B860-D8D8-814E-542A-9F57E60D9960}"/>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③</a:t>
            </a:r>
          </a:p>
        </p:txBody>
      </p:sp>
      <p:sp>
        <p:nvSpPr>
          <p:cNvPr id="3" name="正方形/長方形 2">
            <a:extLst>
              <a:ext uri="{FF2B5EF4-FFF2-40B4-BE49-F238E27FC236}">
                <a16:creationId xmlns:a16="http://schemas.microsoft.com/office/drawing/2014/main" id="{746E8580-C525-A3E0-B88C-3A63E05899F1}"/>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dirty="0">
                <a:solidFill>
                  <a:srgbClr val="C00000"/>
                </a:solidFill>
                <a:latin typeface="+mn-ea"/>
                <a:cs typeface="+mn-cs"/>
              </a:rPr>
              <a:t>※</a:t>
            </a:r>
            <a:r>
              <a:rPr kumimoji="1" lang="ja-JP" altLang="en-US" sz="1050" dirty="0">
                <a:solidFill>
                  <a:srgbClr val="C00000"/>
                </a:solidFill>
                <a:latin typeface="+mn-ea"/>
                <a:cs typeface="+mn-cs"/>
              </a:rPr>
              <a:t>必要に応じて行を増やしてご記載ください。概算で結構ですが費目等の内容が分かるように記載をお願いします</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2647847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C2F02-1F03-1388-A6C1-49E0C35F8FE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844098-4DEF-3344-C38F-B0586C72A7FD}"/>
              </a:ext>
            </a:extLst>
          </p:cNvPr>
          <p:cNvSpPr>
            <a:spLocks noGrp="1"/>
          </p:cNvSpPr>
          <p:nvPr>
            <p:ph type="sldNum" sz="quarter" idx="11"/>
          </p:nvPr>
        </p:nvSpPr>
        <p:spPr/>
        <p:txBody>
          <a:bodyPr/>
          <a:lstStyle/>
          <a:p>
            <a:fld id="{AA5FCFE5-FE56-4EF1-80A8-07776887C2A1}" type="slidenum">
              <a:rPr lang="ja-JP" altLang="en-US" smtClean="0"/>
              <a:pPr/>
              <a:t>18</a:t>
            </a:fld>
            <a:endParaRPr lang="ja-JP" altLang="en-US"/>
          </a:p>
        </p:txBody>
      </p:sp>
      <p:sp>
        <p:nvSpPr>
          <p:cNvPr id="13" name="正方形/長方形 12">
            <a:extLst>
              <a:ext uri="{FF2B5EF4-FFF2-40B4-BE49-F238E27FC236}">
                <a16:creationId xmlns:a16="http://schemas.microsoft.com/office/drawing/2014/main" id="{0E7D1B7B-610B-F135-3D30-09565A82C767}"/>
              </a:ext>
            </a:extLst>
          </p:cNvPr>
          <p:cNvSpPr/>
          <p:nvPr/>
        </p:nvSpPr>
        <p:spPr bwMode="gray">
          <a:xfrm>
            <a:off x="153988" y="648014"/>
            <a:ext cx="3220087"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証実施・結果検証・検討のスケジュール</a:t>
            </a:r>
            <a:endParaRPr kumimoji="1" lang="en-US" altLang="ja-JP" sz="1200" b="1" dirty="0">
              <a:latin typeface="+mj-ea"/>
              <a:ea typeface="+mj-ea"/>
              <a:cs typeface="+mn-cs"/>
            </a:endParaRPr>
          </a:p>
        </p:txBody>
      </p:sp>
      <p:graphicFrame>
        <p:nvGraphicFramePr>
          <p:cNvPr id="16" name="表 15">
            <a:extLst>
              <a:ext uri="{FF2B5EF4-FFF2-40B4-BE49-F238E27FC236}">
                <a16:creationId xmlns:a16="http://schemas.microsoft.com/office/drawing/2014/main" id="{F053A1D3-A7EF-DB45-0A17-91029E122EBF}"/>
              </a:ext>
            </a:extLst>
          </p:cNvPr>
          <p:cNvGraphicFramePr>
            <a:graphicFrameLocks noGrp="1"/>
          </p:cNvGraphicFramePr>
          <p:nvPr>
            <p:extLst>
              <p:ext uri="{D42A27DB-BD31-4B8C-83A1-F6EECF244321}">
                <p14:modId xmlns:p14="http://schemas.microsoft.com/office/powerpoint/2010/main" val="3745494071"/>
              </p:ext>
            </p:extLst>
          </p:nvPr>
        </p:nvGraphicFramePr>
        <p:xfrm>
          <a:off x="1720201" y="991188"/>
          <a:ext cx="7892752" cy="487680"/>
        </p:xfrm>
        <a:graphic>
          <a:graphicData uri="http://schemas.openxmlformats.org/drawingml/2006/table">
            <a:tbl>
              <a:tblPr firstRow="1" bandRow="1">
                <a:tableStyleId>{073A0DAA-6AF3-43AB-8588-CEC1D06C72B9}</a:tableStyleId>
              </a:tblPr>
              <a:tblGrid>
                <a:gridCol w="986594">
                  <a:extLst>
                    <a:ext uri="{9D8B030D-6E8A-4147-A177-3AD203B41FA5}">
                      <a16:colId xmlns:a16="http://schemas.microsoft.com/office/drawing/2014/main" val="1769347098"/>
                    </a:ext>
                  </a:extLst>
                </a:gridCol>
                <a:gridCol w="986594">
                  <a:extLst>
                    <a:ext uri="{9D8B030D-6E8A-4147-A177-3AD203B41FA5}">
                      <a16:colId xmlns:a16="http://schemas.microsoft.com/office/drawing/2014/main" val="3062251658"/>
                    </a:ext>
                  </a:extLst>
                </a:gridCol>
                <a:gridCol w="986594">
                  <a:extLst>
                    <a:ext uri="{9D8B030D-6E8A-4147-A177-3AD203B41FA5}">
                      <a16:colId xmlns:a16="http://schemas.microsoft.com/office/drawing/2014/main" val="2231374747"/>
                    </a:ext>
                  </a:extLst>
                </a:gridCol>
                <a:gridCol w="986594">
                  <a:extLst>
                    <a:ext uri="{9D8B030D-6E8A-4147-A177-3AD203B41FA5}">
                      <a16:colId xmlns:a16="http://schemas.microsoft.com/office/drawing/2014/main" val="1970313242"/>
                    </a:ext>
                  </a:extLst>
                </a:gridCol>
                <a:gridCol w="986594">
                  <a:extLst>
                    <a:ext uri="{9D8B030D-6E8A-4147-A177-3AD203B41FA5}">
                      <a16:colId xmlns:a16="http://schemas.microsoft.com/office/drawing/2014/main" val="241791758"/>
                    </a:ext>
                  </a:extLst>
                </a:gridCol>
                <a:gridCol w="986594">
                  <a:extLst>
                    <a:ext uri="{9D8B030D-6E8A-4147-A177-3AD203B41FA5}">
                      <a16:colId xmlns:a16="http://schemas.microsoft.com/office/drawing/2014/main" val="3199402638"/>
                    </a:ext>
                  </a:extLst>
                </a:gridCol>
                <a:gridCol w="986594">
                  <a:extLst>
                    <a:ext uri="{9D8B030D-6E8A-4147-A177-3AD203B41FA5}">
                      <a16:colId xmlns:a16="http://schemas.microsoft.com/office/drawing/2014/main" val="3944279037"/>
                    </a:ext>
                  </a:extLst>
                </a:gridCol>
                <a:gridCol w="986594">
                  <a:extLst>
                    <a:ext uri="{9D8B030D-6E8A-4147-A177-3AD203B41FA5}">
                      <a16:colId xmlns:a16="http://schemas.microsoft.com/office/drawing/2014/main" val="3265446030"/>
                    </a:ext>
                  </a:extLst>
                </a:gridCol>
              </a:tblGrid>
              <a:tr h="216000">
                <a:tc gridSpan="5">
                  <a:txBody>
                    <a:bodyPr/>
                    <a:lstStyle/>
                    <a:p>
                      <a:pPr marL="0" marR="0" lvl="0" indent="0" algn="ctr" defTabSz="990564" rtl="0" eaLnBrk="1" fontAlgn="auto" latinLnBrk="0" hangingPunct="1">
                        <a:lnSpc>
                          <a:spcPts val="1200"/>
                        </a:lnSpc>
                        <a:spcBef>
                          <a:spcPts val="0"/>
                        </a:spcBef>
                        <a:spcAft>
                          <a:spcPts val="0"/>
                        </a:spcAft>
                        <a:buClrTx/>
                        <a:buSzTx/>
                        <a:buFontTx/>
                        <a:buNone/>
                        <a:tabLst/>
                        <a:defRPr/>
                      </a:pPr>
                      <a:r>
                        <a:rPr kumimoji="1" lang="ja-JP" altLang="en-US" sz="1000" dirty="0"/>
                        <a:t>令和８年（</a:t>
                      </a:r>
                      <a:r>
                        <a:rPr kumimoji="1" lang="en-US" altLang="ja-JP" sz="1000" dirty="0"/>
                        <a:t>2026</a:t>
                      </a:r>
                      <a:r>
                        <a:rPr kumimoji="1" lang="ja-JP" altLang="en-US" sz="1000" dirty="0"/>
                        <a:t>年）</a:t>
                      </a:r>
                    </a:p>
                  </a:txBody>
                  <a:tcPr anchor="ctr">
                    <a:solidFill>
                      <a:schemeClr val="tx2"/>
                    </a:solidFill>
                  </a:tcPr>
                </a:tc>
                <a:tc hMerge="1">
                  <a:txBody>
                    <a:bodyPr/>
                    <a:lstStyle/>
                    <a:p>
                      <a:endParaRPr dirty="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gridSpan="3">
                  <a:txBody>
                    <a:bodyPr/>
                    <a:lstStyle/>
                    <a:p>
                      <a:pPr algn="ctr">
                        <a:lnSpc>
                          <a:spcPts val="1200"/>
                        </a:lnSpc>
                      </a:pPr>
                      <a:r>
                        <a:rPr kumimoji="1" lang="ja-JP" altLang="en-US" sz="1000" dirty="0"/>
                        <a:t>令和</a:t>
                      </a:r>
                      <a:r>
                        <a:rPr kumimoji="1" lang="en-US" altLang="ja-JP" sz="1000" dirty="0"/>
                        <a:t>9</a:t>
                      </a:r>
                      <a:r>
                        <a:rPr kumimoji="1" lang="ja-JP" altLang="en-US" sz="1000" dirty="0"/>
                        <a:t>年（</a:t>
                      </a:r>
                      <a:r>
                        <a:rPr kumimoji="1" lang="en-US" altLang="ja-JP" sz="1000" dirty="0"/>
                        <a:t>2027</a:t>
                      </a:r>
                      <a:r>
                        <a:rPr kumimoji="1" lang="ja-JP" altLang="en-US" sz="1000" dirty="0"/>
                        <a:t>年）</a:t>
                      </a:r>
                    </a:p>
                  </a:txBody>
                  <a:tcPr anchor="ctr">
                    <a:solidFill>
                      <a:schemeClr val="tx2"/>
                    </a:solidFill>
                  </a:tcP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extLst>
                  <a:ext uri="{0D108BD9-81ED-4DB2-BD59-A6C34878D82A}">
                    <a16:rowId xmlns:a16="http://schemas.microsoft.com/office/drawing/2014/main" val="2309090938"/>
                  </a:ext>
                </a:extLst>
              </a:tr>
              <a:tr h="216000">
                <a:tc>
                  <a:txBody>
                    <a:bodyPr/>
                    <a:lstStyle/>
                    <a:p>
                      <a:pPr algn="ctr">
                        <a:lnSpc>
                          <a:spcPts val="1200"/>
                        </a:lnSpc>
                      </a:pPr>
                      <a:r>
                        <a:rPr kumimoji="1" lang="en-US" altLang="ja-JP" sz="1000" dirty="0"/>
                        <a:t>8</a:t>
                      </a:r>
                      <a:r>
                        <a:rPr kumimoji="1" lang="ja-JP" altLang="en-US" sz="1000" dirty="0"/>
                        <a:t>月</a:t>
                      </a:r>
                    </a:p>
                  </a:txBody>
                  <a:tcPr anchor="ctr"/>
                </a:tc>
                <a:tc>
                  <a:txBody>
                    <a:bodyPr/>
                    <a:lstStyle/>
                    <a:p>
                      <a:pPr algn="ctr">
                        <a:lnSpc>
                          <a:spcPts val="1200"/>
                        </a:lnSpc>
                      </a:pPr>
                      <a:r>
                        <a:rPr kumimoji="1" lang="en-US" altLang="ja-JP" sz="1000" dirty="0"/>
                        <a:t>9</a:t>
                      </a:r>
                      <a:r>
                        <a:rPr kumimoji="1" lang="ja-JP" altLang="en-US" sz="1000" dirty="0"/>
                        <a:t>月</a:t>
                      </a:r>
                    </a:p>
                  </a:txBody>
                  <a:tcPr anchor="ctr"/>
                </a:tc>
                <a:tc>
                  <a:txBody>
                    <a:bodyPr/>
                    <a:lstStyle/>
                    <a:p>
                      <a:pPr algn="ctr">
                        <a:lnSpc>
                          <a:spcPts val="1200"/>
                        </a:lnSpc>
                      </a:pPr>
                      <a:r>
                        <a:rPr kumimoji="1" lang="en-US" altLang="ja-JP" sz="1000" dirty="0"/>
                        <a:t>10</a:t>
                      </a:r>
                      <a:r>
                        <a:rPr kumimoji="1" lang="ja-JP" altLang="en-US" sz="1000" dirty="0"/>
                        <a:t>月</a:t>
                      </a:r>
                    </a:p>
                  </a:txBody>
                  <a:tcPr anchor="ctr"/>
                </a:tc>
                <a:tc>
                  <a:txBody>
                    <a:bodyPr/>
                    <a:lstStyle/>
                    <a:p>
                      <a:pPr algn="ctr">
                        <a:lnSpc>
                          <a:spcPts val="1200"/>
                        </a:lnSpc>
                      </a:pPr>
                      <a:r>
                        <a:rPr kumimoji="1" lang="en-US" altLang="ja-JP" sz="1000" dirty="0"/>
                        <a:t>11</a:t>
                      </a:r>
                      <a:r>
                        <a:rPr kumimoji="1" lang="ja-JP" altLang="en-US" sz="1000" dirty="0"/>
                        <a:t>月</a:t>
                      </a:r>
                    </a:p>
                  </a:txBody>
                  <a:tcPr anchor="ctr"/>
                </a:tc>
                <a:tc>
                  <a:txBody>
                    <a:bodyPr/>
                    <a:lstStyle/>
                    <a:p>
                      <a:pPr algn="ctr">
                        <a:lnSpc>
                          <a:spcPts val="1200"/>
                        </a:lnSpc>
                      </a:pPr>
                      <a:r>
                        <a:rPr kumimoji="1" lang="en-US" altLang="ja-JP" sz="1000" dirty="0"/>
                        <a:t>12</a:t>
                      </a:r>
                      <a:r>
                        <a:rPr kumimoji="1" lang="ja-JP" altLang="en-US" sz="1000" dirty="0"/>
                        <a:t>月</a:t>
                      </a:r>
                    </a:p>
                  </a:txBody>
                  <a:tcPr anchor="ctr"/>
                </a:tc>
                <a:tc>
                  <a:txBody>
                    <a:bodyPr/>
                    <a:lstStyle/>
                    <a:p>
                      <a:pPr algn="ctr">
                        <a:lnSpc>
                          <a:spcPts val="1200"/>
                        </a:lnSpc>
                      </a:pPr>
                      <a:r>
                        <a:rPr kumimoji="1" lang="en-US" altLang="ja-JP" sz="1000" dirty="0"/>
                        <a:t>1</a:t>
                      </a:r>
                      <a:r>
                        <a:rPr kumimoji="1" lang="ja-JP" altLang="en-US" sz="1000" dirty="0"/>
                        <a:t>月</a:t>
                      </a:r>
                    </a:p>
                  </a:txBody>
                  <a:tcPr anchor="ctr"/>
                </a:tc>
                <a:tc>
                  <a:txBody>
                    <a:bodyPr/>
                    <a:lstStyle/>
                    <a:p>
                      <a:pPr algn="ctr">
                        <a:lnSpc>
                          <a:spcPts val="1200"/>
                        </a:lnSpc>
                      </a:pPr>
                      <a:r>
                        <a:rPr kumimoji="1" lang="en-US" altLang="ja-JP" sz="1000" dirty="0"/>
                        <a:t>2</a:t>
                      </a:r>
                      <a:r>
                        <a:rPr kumimoji="1" lang="ja-JP" altLang="en-US" sz="1000" dirty="0"/>
                        <a:t>月</a:t>
                      </a:r>
                    </a:p>
                  </a:txBody>
                  <a:tcPr anchor="ctr"/>
                </a:tc>
                <a:tc>
                  <a:txBody>
                    <a:bodyPr/>
                    <a:lstStyle/>
                    <a:p>
                      <a:pPr algn="ctr">
                        <a:lnSpc>
                          <a:spcPts val="1200"/>
                        </a:lnSpc>
                      </a:pPr>
                      <a:r>
                        <a:rPr kumimoji="1" lang="en-US" altLang="ja-JP" sz="1000" dirty="0"/>
                        <a:t>3</a:t>
                      </a:r>
                      <a:r>
                        <a:rPr kumimoji="1" lang="ja-JP" altLang="en-US" sz="1000" dirty="0"/>
                        <a:t>月</a:t>
                      </a:r>
                    </a:p>
                  </a:txBody>
                  <a:tcPr anchor="ctr"/>
                </a:tc>
                <a:extLst>
                  <a:ext uri="{0D108BD9-81ED-4DB2-BD59-A6C34878D82A}">
                    <a16:rowId xmlns:a16="http://schemas.microsoft.com/office/drawing/2014/main" val="3205325247"/>
                  </a:ext>
                </a:extLst>
              </a:tr>
            </a:tbl>
          </a:graphicData>
        </a:graphic>
      </p:graphicFrame>
      <p:sp>
        <p:nvSpPr>
          <p:cNvPr id="20" name="正方形/長方形 19">
            <a:extLst>
              <a:ext uri="{FF2B5EF4-FFF2-40B4-BE49-F238E27FC236}">
                <a16:creationId xmlns:a16="http://schemas.microsoft.com/office/drawing/2014/main" id="{3BBB13AF-A474-6D32-342F-BCEEF1315150}"/>
              </a:ext>
            </a:extLst>
          </p:cNvPr>
          <p:cNvSpPr/>
          <p:nvPr/>
        </p:nvSpPr>
        <p:spPr bwMode="gray">
          <a:xfrm>
            <a:off x="1745301" y="1547839"/>
            <a:ext cx="7867650" cy="1440000"/>
          </a:xfrm>
          <a:prstGeom prst="rect">
            <a:avLst/>
          </a:prstGeom>
          <a:solidFill>
            <a:srgbClr val="D9F3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u="sng" dirty="0"/>
              <a:t>関係者との調整・実証実施を行う上で実現可能なスケジュールを記載すること。</a:t>
            </a:r>
            <a:endParaRPr kumimoji="1" lang="en-US" altLang="ja-JP" sz="1200" b="1" u="sng" dirty="0"/>
          </a:p>
          <a:p>
            <a:pPr algn="ctr" defTabSz="990564" fontAlgn="auto">
              <a:spcBef>
                <a:spcPts val="0"/>
              </a:spcBef>
              <a:spcAft>
                <a:spcPts val="0"/>
              </a:spcAft>
              <a:buSzPct val="100000"/>
            </a:pPr>
            <a:r>
              <a:rPr kumimoji="1" lang="ja-JP" altLang="en-US" sz="1200" b="1" u="sng" dirty="0"/>
              <a:t>取組内容が分かるように適宜工夫いただき作成ください。</a:t>
            </a:r>
            <a:endParaRPr kumimoji="1" lang="en-US" altLang="ja-JP" sz="1200" b="1" u="sng" dirty="0"/>
          </a:p>
        </p:txBody>
      </p:sp>
      <p:grpSp>
        <p:nvGrpSpPr>
          <p:cNvPr id="22" name="グループ化 21">
            <a:extLst>
              <a:ext uri="{FF2B5EF4-FFF2-40B4-BE49-F238E27FC236}">
                <a16:creationId xmlns:a16="http://schemas.microsoft.com/office/drawing/2014/main" id="{0A001B29-7198-900B-75B6-B7EDBCC473B9}"/>
              </a:ext>
            </a:extLst>
          </p:cNvPr>
          <p:cNvGrpSpPr/>
          <p:nvPr/>
        </p:nvGrpSpPr>
        <p:grpSpPr>
          <a:xfrm>
            <a:off x="259045" y="1550450"/>
            <a:ext cx="1440000" cy="1427126"/>
            <a:chOff x="313969" y="1669486"/>
            <a:chExt cx="1440000" cy="1427126"/>
          </a:xfrm>
        </p:grpSpPr>
        <p:sp>
          <p:nvSpPr>
            <p:cNvPr id="23" name="四角形: 角を丸くする 22">
              <a:extLst>
                <a:ext uri="{FF2B5EF4-FFF2-40B4-BE49-F238E27FC236}">
                  <a16:creationId xmlns:a16="http://schemas.microsoft.com/office/drawing/2014/main" id="{925B8B74-6E1B-7932-57D2-7ECA274A370A}"/>
                </a:ext>
              </a:extLst>
            </p:cNvPr>
            <p:cNvSpPr/>
            <p:nvPr/>
          </p:nvSpPr>
          <p:spPr>
            <a:xfrm>
              <a:off x="313969" y="1669486"/>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①</a:t>
              </a:r>
            </a:p>
          </p:txBody>
        </p:sp>
        <p:sp>
          <p:nvSpPr>
            <p:cNvPr id="24" name="四角形: 角を丸くする 23">
              <a:extLst>
                <a:ext uri="{FF2B5EF4-FFF2-40B4-BE49-F238E27FC236}">
                  <a16:creationId xmlns:a16="http://schemas.microsoft.com/office/drawing/2014/main" id="{3B63F221-A3C4-BC81-3317-3BFFD2845DA6}"/>
                </a:ext>
              </a:extLst>
            </p:cNvPr>
            <p:cNvSpPr/>
            <p:nvPr/>
          </p:nvSpPr>
          <p:spPr>
            <a:xfrm>
              <a:off x="313969" y="1852155"/>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②</a:t>
              </a:r>
            </a:p>
          </p:txBody>
        </p:sp>
        <p:sp>
          <p:nvSpPr>
            <p:cNvPr id="25" name="四角形: 角を丸くする 24">
              <a:extLst>
                <a:ext uri="{FF2B5EF4-FFF2-40B4-BE49-F238E27FC236}">
                  <a16:creationId xmlns:a16="http://schemas.microsoft.com/office/drawing/2014/main" id="{AC92F577-F7D5-27A2-230F-C1CA051A9AD4}"/>
                </a:ext>
              </a:extLst>
            </p:cNvPr>
            <p:cNvSpPr/>
            <p:nvPr/>
          </p:nvSpPr>
          <p:spPr>
            <a:xfrm>
              <a:off x="313969" y="2034824"/>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③</a:t>
              </a:r>
            </a:p>
          </p:txBody>
        </p:sp>
        <p:sp>
          <p:nvSpPr>
            <p:cNvPr id="26" name="四角形: 角を丸くする 25">
              <a:extLst>
                <a:ext uri="{FF2B5EF4-FFF2-40B4-BE49-F238E27FC236}">
                  <a16:creationId xmlns:a16="http://schemas.microsoft.com/office/drawing/2014/main" id="{EEB7C423-606D-77C9-3682-E56E2F46959B}"/>
                </a:ext>
              </a:extLst>
            </p:cNvPr>
            <p:cNvSpPr/>
            <p:nvPr/>
          </p:nvSpPr>
          <p:spPr>
            <a:xfrm>
              <a:off x="313969" y="2217493"/>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④</a:t>
              </a:r>
            </a:p>
          </p:txBody>
        </p:sp>
        <p:sp>
          <p:nvSpPr>
            <p:cNvPr id="27" name="四角形: 角を丸くする 26">
              <a:extLst>
                <a:ext uri="{FF2B5EF4-FFF2-40B4-BE49-F238E27FC236}">
                  <a16:creationId xmlns:a16="http://schemas.microsoft.com/office/drawing/2014/main" id="{AB893CC4-1EBF-B676-2875-625B99AD3C06}"/>
                </a:ext>
              </a:extLst>
            </p:cNvPr>
            <p:cNvSpPr/>
            <p:nvPr/>
          </p:nvSpPr>
          <p:spPr>
            <a:xfrm>
              <a:off x="313969" y="2400162"/>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⑤</a:t>
              </a:r>
            </a:p>
          </p:txBody>
        </p:sp>
        <p:sp>
          <p:nvSpPr>
            <p:cNvPr id="39" name="四角形: 角を丸くする 38">
              <a:extLst>
                <a:ext uri="{FF2B5EF4-FFF2-40B4-BE49-F238E27FC236}">
                  <a16:creationId xmlns:a16="http://schemas.microsoft.com/office/drawing/2014/main" id="{75D6C0C0-C26B-C329-A0C2-87D4902CA18B}"/>
                </a:ext>
              </a:extLst>
            </p:cNvPr>
            <p:cNvSpPr/>
            <p:nvPr/>
          </p:nvSpPr>
          <p:spPr>
            <a:xfrm>
              <a:off x="313969" y="2587274"/>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a:t>
              </a:r>
              <a:r>
                <a:rPr kumimoji="1" lang="ja-JP" altLang="en-US" sz="1000" b="1" kern="0" dirty="0">
                  <a:solidFill>
                    <a:prstClr val="white"/>
                  </a:solidFill>
                  <a:latin typeface="+mn-ea"/>
                  <a:cs typeface="+mn-cs"/>
                </a:rPr>
                <a:t>⑥</a:t>
              </a:r>
              <a:endParaRPr kumimoji="1" lang="ja-JP" altLang="en-US" sz="1000" b="1" i="0" u="none" strike="noStrike" kern="0" cap="none" spc="0" normalizeH="0" baseline="0" noProof="0" dirty="0">
                <a:ln>
                  <a:noFill/>
                </a:ln>
                <a:solidFill>
                  <a:prstClr val="white"/>
                </a:solidFill>
                <a:effectLst/>
                <a:uLnTx/>
                <a:uFillTx/>
                <a:latin typeface="+mn-ea"/>
                <a:cs typeface="+mn-cs"/>
              </a:endParaRPr>
            </a:p>
          </p:txBody>
        </p:sp>
        <p:sp>
          <p:nvSpPr>
            <p:cNvPr id="40" name="四角形: 角を丸くする 39">
              <a:extLst>
                <a:ext uri="{FF2B5EF4-FFF2-40B4-BE49-F238E27FC236}">
                  <a16:creationId xmlns:a16="http://schemas.microsoft.com/office/drawing/2014/main" id="{7A268E75-0257-6E2C-A9F2-BECC1A17FA42}"/>
                </a:ext>
              </a:extLst>
            </p:cNvPr>
            <p:cNvSpPr/>
            <p:nvPr/>
          </p:nvSpPr>
          <p:spPr>
            <a:xfrm>
              <a:off x="313969" y="2769943"/>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⑦</a:t>
              </a:r>
            </a:p>
          </p:txBody>
        </p:sp>
        <p:sp>
          <p:nvSpPr>
            <p:cNvPr id="41" name="四角形: 角を丸くする 40">
              <a:extLst>
                <a:ext uri="{FF2B5EF4-FFF2-40B4-BE49-F238E27FC236}">
                  <a16:creationId xmlns:a16="http://schemas.microsoft.com/office/drawing/2014/main" id="{401AE331-B5E0-A85E-9577-992527980594}"/>
                </a:ext>
              </a:extLst>
            </p:cNvPr>
            <p:cNvSpPr/>
            <p:nvPr/>
          </p:nvSpPr>
          <p:spPr>
            <a:xfrm>
              <a:off x="313969" y="2952612"/>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⑧</a:t>
              </a:r>
            </a:p>
          </p:txBody>
        </p:sp>
      </p:grpSp>
      <p:sp>
        <p:nvSpPr>
          <p:cNvPr id="51" name="テキスト ボックス 50">
            <a:extLst>
              <a:ext uri="{FF2B5EF4-FFF2-40B4-BE49-F238E27FC236}">
                <a16:creationId xmlns:a16="http://schemas.microsoft.com/office/drawing/2014/main" id="{AD8141BE-8ED5-3D46-F3C6-2ED1CF0C03F4}"/>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④</a:t>
            </a:r>
          </a:p>
        </p:txBody>
      </p:sp>
      <p:sp>
        <p:nvSpPr>
          <p:cNvPr id="3" name="正方形/長方形 2">
            <a:extLst>
              <a:ext uri="{FF2B5EF4-FFF2-40B4-BE49-F238E27FC236}">
                <a16:creationId xmlns:a16="http://schemas.microsoft.com/office/drawing/2014/main" id="{4BF0A33A-DF50-C47E-3C4B-AEF8108A17DE}"/>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200"/>
              </a:lnSpc>
              <a:spcBef>
                <a:spcPts val="0"/>
              </a:spcBef>
              <a:spcAft>
                <a:spcPts val="0"/>
              </a:spcAft>
              <a:buSzPct val="100000"/>
            </a:pPr>
            <a:r>
              <a:rPr kumimoji="1" lang="en-US" altLang="ja-JP" sz="1050" dirty="0">
                <a:solidFill>
                  <a:srgbClr val="C00000"/>
                </a:solidFill>
                <a:latin typeface="+mn-ea"/>
                <a:cs typeface="+mn-cs"/>
              </a:rPr>
              <a:t>※</a:t>
            </a:r>
            <a:r>
              <a:rPr kumimoji="1" lang="ja-JP" altLang="en-US" sz="1050" dirty="0">
                <a:solidFill>
                  <a:srgbClr val="C00000"/>
                </a:solidFill>
                <a:latin typeface="+mn-ea"/>
                <a:cs typeface="+mn-cs"/>
              </a:rPr>
              <a:t>適宜レイアウトを調整し、</a:t>
            </a:r>
            <a:r>
              <a:rPr kumimoji="1" lang="en-US" altLang="ja-JP" sz="1050" dirty="0">
                <a:solidFill>
                  <a:srgbClr val="C00000"/>
                </a:solidFill>
                <a:latin typeface="+mn-ea"/>
              </a:rPr>
              <a:t>1</a:t>
            </a:r>
            <a:r>
              <a:rPr kumimoji="1" lang="ja-JP" altLang="en-US" sz="1050" dirty="0">
                <a:solidFill>
                  <a:srgbClr val="C00000"/>
                </a:solidFill>
                <a:latin typeface="+mn-ea"/>
              </a:rPr>
              <a:t>枚に収まるようにご記載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3720536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FAD0EEC1-51C6-3896-EB50-24835CA231EE}"/>
              </a:ext>
            </a:extLst>
          </p:cNvPr>
          <p:cNvSpPr>
            <a:spLocks noGrp="1"/>
          </p:cNvSpPr>
          <p:nvPr>
            <p:ph type="sldNum" sz="quarter" idx="11"/>
          </p:nvPr>
        </p:nvSpPr>
        <p:spPr/>
        <p:txBody>
          <a:bodyPr/>
          <a:lstStyle/>
          <a:p>
            <a:fld id="{AA5FCFE5-FE56-4EF1-80A8-07776887C2A1}" type="slidenum">
              <a:rPr lang="ja-JP" altLang="en-US" smtClean="0"/>
              <a:pPr/>
              <a:t>19</a:t>
            </a:fld>
            <a:endParaRPr lang="ja-JP" altLang="en-US"/>
          </a:p>
        </p:txBody>
      </p:sp>
      <p:graphicFrame>
        <p:nvGraphicFramePr>
          <p:cNvPr id="5" name="表 4">
            <a:extLst>
              <a:ext uri="{FF2B5EF4-FFF2-40B4-BE49-F238E27FC236}">
                <a16:creationId xmlns:a16="http://schemas.microsoft.com/office/drawing/2014/main" id="{88E2307C-2195-6C73-978C-DC4D4701A62D}"/>
              </a:ext>
            </a:extLst>
          </p:cNvPr>
          <p:cNvGraphicFramePr>
            <a:graphicFrameLocks noGrp="1"/>
          </p:cNvGraphicFramePr>
          <p:nvPr>
            <p:extLst>
              <p:ext uri="{D42A27DB-BD31-4B8C-83A1-F6EECF244321}">
                <p14:modId xmlns:p14="http://schemas.microsoft.com/office/powerpoint/2010/main" val="3781807407"/>
              </p:ext>
            </p:extLst>
          </p:nvPr>
        </p:nvGraphicFramePr>
        <p:xfrm>
          <a:off x="398857" y="1314101"/>
          <a:ext cx="3934085" cy="1635824"/>
        </p:xfrm>
        <a:graphic>
          <a:graphicData uri="http://schemas.openxmlformats.org/drawingml/2006/table">
            <a:tbl>
              <a:tblPr firstRow="1" bandRow="1">
                <a:tableStyleId>{073A0DAA-6AF3-43AB-8588-CEC1D06C72B9}</a:tableStyleId>
              </a:tblPr>
              <a:tblGrid>
                <a:gridCol w="895214">
                  <a:extLst>
                    <a:ext uri="{9D8B030D-6E8A-4147-A177-3AD203B41FA5}">
                      <a16:colId xmlns:a16="http://schemas.microsoft.com/office/drawing/2014/main" val="3801820717"/>
                    </a:ext>
                  </a:extLst>
                </a:gridCol>
                <a:gridCol w="3038871">
                  <a:extLst>
                    <a:ext uri="{9D8B030D-6E8A-4147-A177-3AD203B41FA5}">
                      <a16:colId xmlns:a16="http://schemas.microsoft.com/office/drawing/2014/main" val="1280196248"/>
                    </a:ext>
                  </a:extLst>
                </a:gridCol>
              </a:tblGrid>
              <a:tr h="176594">
                <a:tc>
                  <a:txBody>
                    <a:bodyPr/>
                    <a:lstStyle/>
                    <a:p>
                      <a:pPr algn="ctr">
                        <a:lnSpc>
                          <a:spcPts val="1400"/>
                        </a:lnSpc>
                      </a:pPr>
                      <a:r>
                        <a:rPr kumimoji="1" lang="ja-JP" altLang="en-US" sz="900" dirty="0"/>
                        <a:t>実装レベル</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lnSpc>
                          <a:spcPts val="1400"/>
                        </a:lnSpc>
                      </a:pPr>
                      <a:r>
                        <a:rPr kumimoji="1" lang="ja-JP" altLang="en-US" sz="900" dirty="0"/>
                        <a:t>内容</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877688342"/>
                  </a:ext>
                </a:extLst>
              </a:tr>
              <a:tr h="300179">
                <a:tc>
                  <a:txBody>
                    <a:bodyPr/>
                    <a:lstStyle/>
                    <a:p>
                      <a:pPr algn="ctr">
                        <a:lnSpc>
                          <a:spcPts val="1000"/>
                        </a:lnSpc>
                      </a:pPr>
                      <a:r>
                        <a:rPr kumimoji="1" lang="ja-JP" altLang="en-US" sz="900" dirty="0"/>
                        <a:t>レベル</a:t>
                      </a:r>
                      <a:r>
                        <a:rPr kumimoji="1" lang="en-US" altLang="ja-JP" sz="900" dirty="0"/>
                        <a:t>_</a:t>
                      </a:r>
                      <a:r>
                        <a:rPr kumimoji="1" lang="ja-JP" altLang="en-US" sz="900" dirty="0"/>
                        <a:t>①</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ts val="1000"/>
                        </a:lnSpc>
                      </a:pPr>
                      <a:r>
                        <a:rPr kumimoji="1" lang="ja-JP" altLang="en-US" sz="900" dirty="0"/>
                        <a:t>実証実験で整備・開発したソリューションを用いることはできず、別途ゼロベースでの整備が必要である</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4599402"/>
                  </a:ext>
                </a:extLst>
              </a:tr>
              <a:tr h="300179">
                <a:tc>
                  <a:txBody>
                    <a:bodyPr/>
                    <a:lstStyle/>
                    <a:p>
                      <a:pPr algn="ctr">
                        <a:lnSpc>
                          <a:spcPts val="1000"/>
                        </a:lnSpc>
                      </a:pPr>
                      <a:r>
                        <a:rPr kumimoji="1" lang="ja-JP" altLang="en-US" sz="900" dirty="0"/>
                        <a:t>レベル</a:t>
                      </a:r>
                      <a:r>
                        <a:rPr kumimoji="1" lang="en-US" altLang="ja-JP" sz="900" dirty="0"/>
                        <a:t>_</a:t>
                      </a:r>
                      <a:r>
                        <a:rPr kumimoji="1" lang="ja-JP" altLang="en-US" sz="900" dirty="0"/>
                        <a:t>②</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ts val="1000"/>
                        </a:lnSpc>
                        <a:spcBef>
                          <a:spcPts val="0"/>
                        </a:spcBef>
                        <a:spcAft>
                          <a:spcPts val="0"/>
                        </a:spcAft>
                        <a:buClrTx/>
                        <a:buSzTx/>
                        <a:buFontTx/>
                        <a:buNone/>
                        <a:tabLst/>
                        <a:defRPr/>
                      </a:pPr>
                      <a:r>
                        <a:rPr kumimoji="1" lang="ja-JP" altLang="en-US" sz="900" dirty="0"/>
                        <a:t>実証実験で整備・開発したソリューションを一部活用することはできるが、別途追加での整備・開発が必要である</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0461288"/>
                  </a:ext>
                </a:extLst>
              </a:tr>
              <a:tr h="300179">
                <a:tc>
                  <a:txBody>
                    <a:bodyPr/>
                    <a:lstStyle/>
                    <a:p>
                      <a:pPr algn="ctr">
                        <a:lnSpc>
                          <a:spcPts val="1000"/>
                        </a:lnSpc>
                      </a:pPr>
                      <a:r>
                        <a:rPr kumimoji="1" lang="ja-JP" altLang="en-US" sz="900" dirty="0"/>
                        <a:t>レベル</a:t>
                      </a:r>
                      <a:r>
                        <a:rPr kumimoji="1" lang="en-US" altLang="ja-JP" sz="900" dirty="0"/>
                        <a:t>_</a:t>
                      </a:r>
                      <a:r>
                        <a:rPr kumimoji="1" lang="ja-JP" altLang="en-US" sz="900" dirty="0"/>
                        <a:t>③ー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ts val="1000"/>
                        </a:lnSpc>
                      </a:pPr>
                      <a:r>
                        <a:rPr kumimoji="1" lang="ja-JP" altLang="en-US" sz="900" dirty="0"/>
                        <a:t>実証実験で整備・開発したソリューションを用いることができ、ランニングコストだけで賄うことができる</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39786747"/>
                  </a:ext>
                </a:extLst>
              </a:tr>
              <a:tr h="300179">
                <a:tc>
                  <a:txBody>
                    <a:bodyPr/>
                    <a:lstStyle/>
                    <a:p>
                      <a:pPr algn="ctr">
                        <a:lnSpc>
                          <a:spcPts val="1000"/>
                        </a:lnSpc>
                      </a:pPr>
                      <a:r>
                        <a:rPr kumimoji="1" lang="ja-JP" altLang="en-US" sz="900" dirty="0"/>
                        <a:t>レベル</a:t>
                      </a:r>
                      <a:r>
                        <a:rPr kumimoji="1" lang="en-US" altLang="ja-JP" sz="900" dirty="0"/>
                        <a:t>_</a:t>
                      </a:r>
                      <a:r>
                        <a:rPr kumimoji="1" lang="ja-JP" altLang="en-US" sz="900" dirty="0"/>
                        <a:t>③ー２</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ts val="1000"/>
                        </a:lnSpc>
                        <a:spcBef>
                          <a:spcPts val="0"/>
                        </a:spcBef>
                        <a:spcAft>
                          <a:spcPts val="0"/>
                        </a:spcAft>
                        <a:buClrTx/>
                        <a:buSzTx/>
                        <a:buFontTx/>
                        <a:buNone/>
                        <a:tabLst/>
                        <a:defRPr/>
                      </a:pPr>
                      <a:r>
                        <a:rPr kumimoji="1" lang="ja-JP" altLang="en-US" sz="900" dirty="0"/>
                        <a:t>実証実験で整備・開発したソリューションを用いることができ、ランニングコストも不要である</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42104791"/>
                  </a:ext>
                </a:extLst>
              </a:tr>
            </a:tbl>
          </a:graphicData>
        </a:graphic>
      </p:graphicFrame>
      <p:sp>
        <p:nvSpPr>
          <p:cNvPr id="6" name="テキスト ボックス 5">
            <a:extLst>
              <a:ext uri="{FF2B5EF4-FFF2-40B4-BE49-F238E27FC236}">
                <a16:creationId xmlns:a16="http://schemas.microsoft.com/office/drawing/2014/main" id="{84C249B5-6B2F-E2E9-7CC9-43006E1F49F0}"/>
              </a:ext>
            </a:extLst>
          </p:cNvPr>
          <p:cNvSpPr txBox="1"/>
          <p:nvPr/>
        </p:nvSpPr>
        <p:spPr bwMode="gray">
          <a:xfrm>
            <a:off x="398857" y="847442"/>
            <a:ext cx="6412012" cy="369332"/>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sng" strike="noStrike" kern="1200" cap="none" spc="0" normalizeH="0" baseline="0" noProof="0" dirty="0">
                <a:ln>
                  <a:noFill/>
                </a:ln>
                <a:solidFill>
                  <a:prstClr val="black"/>
                </a:solidFill>
                <a:effectLst/>
                <a:uLnTx/>
                <a:uFillTx/>
                <a:latin typeface="+mn-lt"/>
                <a:ea typeface="+mn-ea"/>
                <a:cs typeface="+mn-cs"/>
              </a:rPr>
              <a:t>実証実験によってどの程度まで実装状態に近づくのか、実装にあたって、実証実験に要した費用に加えて、</a:t>
            </a:r>
            <a:endParaRPr kumimoji="1" lang="en-US" altLang="ja-JP" sz="1200" b="1" i="0" u="sng"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sng" strike="noStrike" kern="1200" cap="none" spc="0" normalizeH="0" baseline="0" noProof="0" dirty="0">
                <a:ln>
                  <a:noFill/>
                </a:ln>
                <a:solidFill>
                  <a:prstClr val="black"/>
                </a:solidFill>
                <a:effectLst/>
                <a:uLnTx/>
                <a:uFillTx/>
                <a:latin typeface="+mn-lt"/>
                <a:ea typeface="+mn-ea"/>
                <a:cs typeface="+mn-cs"/>
              </a:rPr>
              <a:t>どのような費用がどの程度の金額必要になるのかを記載してください</a:t>
            </a:r>
          </a:p>
        </p:txBody>
      </p:sp>
      <p:sp>
        <p:nvSpPr>
          <p:cNvPr id="7" name="正方形/長方形 6">
            <a:extLst>
              <a:ext uri="{FF2B5EF4-FFF2-40B4-BE49-F238E27FC236}">
                <a16:creationId xmlns:a16="http://schemas.microsoft.com/office/drawing/2014/main" id="{EF8F0B8A-5E61-DF4B-3B7D-07831DE0AD2E}"/>
              </a:ext>
            </a:extLst>
          </p:cNvPr>
          <p:cNvSpPr/>
          <p:nvPr/>
        </p:nvSpPr>
        <p:spPr>
          <a:xfrm>
            <a:off x="5494637" y="1562326"/>
            <a:ext cx="1328675" cy="326773"/>
          </a:xfrm>
          <a:prstGeom prst="rect">
            <a:avLst/>
          </a:prstGeom>
          <a:solidFill>
            <a:schemeClr val="accent5"/>
          </a:solidFill>
          <a:ln w="190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実証実験完了時の</a:t>
            </a:r>
            <a:endParaRPr kumimoji="1" lang="en-US" altLang="ja-JP" sz="1050" b="1" kern="0" dirty="0">
              <a:solidFill>
                <a:schemeClr val="bg1"/>
              </a:solidFill>
              <a:latin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実装レベル</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8" name="正方形/長方形 7">
            <a:extLst>
              <a:ext uri="{FF2B5EF4-FFF2-40B4-BE49-F238E27FC236}">
                <a16:creationId xmlns:a16="http://schemas.microsoft.com/office/drawing/2014/main" id="{D0E9C39E-CDA3-B074-4258-8B96C22C279A}"/>
              </a:ext>
            </a:extLst>
          </p:cNvPr>
          <p:cNvSpPr/>
          <p:nvPr/>
        </p:nvSpPr>
        <p:spPr>
          <a:xfrm>
            <a:off x="5494636" y="1934663"/>
            <a:ext cx="1328674" cy="547200"/>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r>
              <a:rPr kumimoji="1" lang="ja-JP" altLang="en-US" sz="1200" dirty="0"/>
              <a:t>レベル</a:t>
            </a:r>
            <a:r>
              <a:rPr kumimoji="1" lang="en-US" altLang="ja-JP" sz="1200" dirty="0"/>
              <a:t>_</a:t>
            </a:r>
            <a:endParaRPr kumimoji="1" lang="ja-JP" altLang="en-US" sz="1200" dirty="0"/>
          </a:p>
        </p:txBody>
      </p:sp>
      <p:sp>
        <p:nvSpPr>
          <p:cNvPr id="9" name="テキスト ボックス 8">
            <a:extLst>
              <a:ext uri="{FF2B5EF4-FFF2-40B4-BE49-F238E27FC236}">
                <a16:creationId xmlns:a16="http://schemas.microsoft.com/office/drawing/2014/main" id="{E8AEFB8C-BE30-2342-36F3-9945DEF12CCD}"/>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⑤</a:t>
            </a:r>
          </a:p>
        </p:txBody>
      </p:sp>
      <p:sp>
        <p:nvSpPr>
          <p:cNvPr id="10" name="正方形/長方形 9">
            <a:extLst>
              <a:ext uri="{FF2B5EF4-FFF2-40B4-BE49-F238E27FC236}">
                <a16:creationId xmlns:a16="http://schemas.microsoft.com/office/drawing/2014/main" id="{075F6607-6609-DF0B-50E8-99076D4CD90C}"/>
              </a:ext>
            </a:extLst>
          </p:cNvPr>
          <p:cNvSpPr/>
          <p:nvPr/>
        </p:nvSpPr>
        <p:spPr bwMode="gray">
          <a:xfrm>
            <a:off x="132711" y="576550"/>
            <a:ext cx="3079719"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装時の予算確保（概算）</a:t>
            </a:r>
            <a:endParaRPr kumimoji="1" lang="en-US" altLang="ja-JP" sz="1200" b="1" dirty="0">
              <a:latin typeface="+mj-ea"/>
              <a:ea typeface="+mj-ea"/>
              <a:cs typeface="+mn-cs"/>
            </a:endParaRPr>
          </a:p>
        </p:txBody>
      </p:sp>
      <p:sp>
        <p:nvSpPr>
          <p:cNvPr id="13" name="矢印: 右 12">
            <a:extLst>
              <a:ext uri="{FF2B5EF4-FFF2-40B4-BE49-F238E27FC236}">
                <a16:creationId xmlns:a16="http://schemas.microsoft.com/office/drawing/2014/main" id="{A68D0384-233D-7967-70D0-AFA933A831E7}"/>
              </a:ext>
            </a:extLst>
          </p:cNvPr>
          <p:cNvSpPr/>
          <p:nvPr/>
        </p:nvSpPr>
        <p:spPr bwMode="gray">
          <a:xfrm>
            <a:off x="4424330" y="2076260"/>
            <a:ext cx="814935" cy="285939"/>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テキスト ボックス 13">
            <a:extLst>
              <a:ext uri="{FF2B5EF4-FFF2-40B4-BE49-F238E27FC236}">
                <a16:creationId xmlns:a16="http://schemas.microsoft.com/office/drawing/2014/main" id="{0C9CCA52-283C-3C49-5624-9C86DBED6269}"/>
              </a:ext>
            </a:extLst>
          </p:cNvPr>
          <p:cNvSpPr txBox="1"/>
          <p:nvPr/>
        </p:nvSpPr>
        <p:spPr bwMode="gray">
          <a:xfrm>
            <a:off x="4424331" y="1761727"/>
            <a:ext cx="931345" cy="307777"/>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いずれかのレベルを</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記載すること</a:t>
            </a:r>
          </a:p>
        </p:txBody>
      </p:sp>
      <p:sp>
        <p:nvSpPr>
          <p:cNvPr id="19" name="正方形/長方形 18">
            <a:extLst>
              <a:ext uri="{FF2B5EF4-FFF2-40B4-BE49-F238E27FC236}">
                <a16:creationId xmlns:a16="http://schemas.microsoft.com/office/drawing/2014/main" id="{7E60D9C0-629A-1F77-1FD6-C26A7DCCA0AA}"/>
              </a:ext>
            </a:extLst>
          </p:cNvPr>
          <p:cNvSpPr/>
          <p:nvPr/>
        </p:nvSpPr>
        <p:spPr bwMode="gray">
          <a:xfrm>
            <a:off x="2352675" y="3088995"/>
            <a:ext cx="3481774" cy="256046"/>
          </a:xfrm>
          <a:prstGeom prst="rect">
            <a:avLst/>
          </a:prstGeom>
          <a:solidFill>
            <a:schemeClr val="tx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装初年度</a:t>
            </a:r>
          </a:p>
        </p:txBody>
      </p:sp>
      <p:sp>
        <p:nvSpPr>
          <p:cNvPr id="21" name="正方形/長方形 20">
            <a:extLst>
              <a:ext uri="{FF2B5EF4-FFF2-40B4-BE49-F238E27FC236}">
                <a16:creationId xmlns:a16="http://schemas.microsoft.com/office/drawing/2014/main" id="{7B333F75-24F4-2115-DC20-4A079ECAD42D}"/>
              </a:ext>
            </a:extLst>
          </p:cNvPr>
          <p:cNvSpPr/>
          <p:nvPr/>
        </p:nvSpPr>
        <p:spPr bwMode="gray">
          <a:xfrm>
            <a:off x="6025368" y="3088995"/>
            <a:ext cx="3481774" cy="256046"/>
          </a:xfrm>
          <a:prstGeom prst="rect">
            <a:avLst/>
          </a:prstGeom>
          <a:solidFill>
            <a:schemeClr val="tx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装</a:t>
            </a:r>
            <a:r>
              <a:rPr kumimoji="1" lang="en-US" altLang="ja-JP" sz="1200" dirty="0">
                <a:solidFill>
                  <a:schemeClr val="bg1"/>
                </a:solidFill>
                <a:latin typeface="+mn-lt"/>
                <a:cs typeface="+mn-cs"/>
              </a:rPr>
              <a:t>2</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年目以降</a:t>
            </a:r>
          </a:p>
        </p:txBody>
      </p:sp>
      <p:sp>
        <p:nvSpPr>
          <p:cNvPr id="22" name="正方形/長方形 21">
            <a:extLst>
              <a:ext uri="{FF2B5EF4-FFF2-40B4-BE49-F238E27FC236}">
                <a16:creationId xmlns:a16="http://schemas.microsoft.com/office/drawing/2014/main" id="{D612CA7C-0132-D981-94C9-64CBBD03AE3A}"/>
              </a:ext>
            </a:extLst>
          </p:cNvPr>
          <p:cNvSpPr/>
          <p:nvPr/>
        </p:nvSpPr>
        <p:spPr bwMode="gray">
          <a:xfrm>
            <a:off x="398856" y="3398754"/>
            <a:ext cx="858444" cy="1130677"/>
          </a:xfrm>
          <a:prstGeom prst="rect">
            <a:avLst/>
          </a:prstGeom>
          <a:solidFill>
            <a:schemeClr val="tx2"/>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開発・導入等</a:t>
            </a:r>
            <a:endParaRPr kumimoji="1" lang="en-US" altLang="ja-JP" sz="1050" dirty="0">
              <a:solidFill>
                <a:srgbClr val="FF0000"/>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にかかる</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追加費用</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37E46EFB-EEFF-4C66-F6FD-B325753C1F0F}"/>
              </a:ext>
            </a:extLst>
          </p:cNvPr>
          <p:cNvSpPr/>
          <p:nvPr/>
        </p:nvSpPr>
        <p:spPr bwMode="gray">
          <a:xfrm>
            <a:off x="398856" y="4623301"/>
            <a:ext cx="858444" cy="1130677"/>
          </a:xfrm>
          <a:prstGeom prst="rect">
            <a:avLst/>
          </a:prstGeom>
          <a:solidFill>
            <a:schemeClr val="tx2"/>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ランニング</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コスト</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56F1C6BC-A9DD-F389-7D64-C380B9021E64}"/>
              </a:ext>
            </a:extLst>
          </p:cNvPr>
          <p:cNvSpPr/>
          <p:nvPr/>
        </p:nvSpPr>
        <p:spPr bwMode="gray">
          <a:xfrm>
            <a:off x="1311652" y="3398754"/>
            <a:ext cx="858444" cy="360000"/>
          </a:xfrm>
          <a:prstGeom prst="rect">
            <a:avLst/>
          </a:prstGeom>
          <a:solidFill>
            <a:schemeClr val="tx2">
              <a:lumMod val="20000"/>
              <a:lumOff val="80000"/>
            </a:schemeClr>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latin typeface="+mn-lt"/>
                <a:cs typeface="+mn-cs"/>
              </a:rPr>
              <a:t>費用概要</a:t>
            </a: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25" name="正方形/長方形 24">
            <a:extLst>
              <a:ext uri="{FF2B5EF4-FFF2-40B4-BE49-F238E27FC236}">
                <a16:creationId xmlns:a16="http://schemas.microsoft.com/office/drawing/2014/main" id="{49ADA3EC-8740-BBEE-CA77-2A8321089003}"/>
              </a:ext>
            </a:extLst>
          </p:cNvPr>
          <p:cNvSpPr/>
          <p:nvPr/>
        </p:nvSpPr>
        <p:spPr bwMode="gray">
          <a:xfrm>
            <a:off x="398856" y="5817811"/>
            <a:ext cx="1771240" cy="627314"/>
          </a:xfrm>
          <a:prstGeom prst="rect">
            <a:avLst/>
          </a:prstGeom>
          <a:solidFill>
            <a:schemeClr val="tx2"/>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補足事項</a:t>
            </a:r>
            <a:endParaRPr kumimoji="1" lang="en-US" altLang="ja-JP" sz="105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実証実験にかかる費用項目</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との違い・差異に関する説明等）</a:t>
            </a:r>
          </a:p>
        </p:txBody>
      </p:sp>
      <p:sp>
        <p:nvSpPr>
          <p:cNvPr id="26" name="正方形/長方形 25">
            <a:extLst>
              <a:ext uri="{FF2B5EF4-FFF2-40B4-BE49-F238E27FC236}">
                <a16:creationId xmlns:a16="http://schemas.microsoft.com/office/drawing/2014/main" id="{056FEBB1-2A70-5EC2-C297-406C92C14FFE}"/>
              </a:ext>
            </a:extLst>
          </p:cNvPr>
          <p:cNvSpPr/>
          <p:nvPr/>
        </p:nvSpPr>
        <p:spPr bwMode="gray">
          <a:xfrm>
            <a:off x="1311652" y="3784093"/>
            <a:ext cx="858444" cy="360000"/>
          </a:xfrm>
          <a:prstGeom prst="rect">
            <a:avLst/>
          </a:prstGeom>
          <a:solidFill>
            <a:schemeClr val="tx2">
              <a:lumMod val="20000"/>
              <a:lumOff val="80000"/>
            </a:schemeClr>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latin typeface="+mn-lt"/>
                <a:cs typeface="+mn-cs"/>
              </a:rPr>
              <a:t>想定負担者</a:t>
            </a: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27" name="正方形/長方形 26">
            <a:extLst>
              <a:ext uri="{FF2B5EF4-FFF2-40B4-BE49-F238E27FC236}">
                <a16:creationId xmlns:a16="http://schemas.microsoft.com/office/drawing/2014/main" id="{B947D969-4845-06D1-A4BA-D84703E609BE}"/>
              </a:ext>
            </a:extLst>
          </p:cNvPr>
          <p:cNvSpPr/>
          <p:nvPr/>
        </p:nvSpPr>
        <p:spPr bwMode="gray">
          <a:xfrm>
            <a:off x="1311652" y="4169431"/>
            <a:ext cx="858444" cy="360000"/>
          </a:xfrm>
          <a:prstGeom prst="rect">
            <a:avLst/>
          </a:prstGeom>
          <a:solidFill>
            <a:schemeClr val="tx2">
              <a:lumMod val="20000"/>
              <a:lumOff val="80000"/>
            </a:schemeClr>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effectLst/>
                <a:uLnTx/>
                <a:uFillTx/>
                <a:latin typeface="+mn-lt"/>
                <a:ea typeface="+mn-ea"/>
                <a:cs typeface="+mn-cs"/>
              </a:rPr>
              <a:t>概算金額</a:t>
            </a:r>
          </a:p>
        </p:txBody>
      </p:sp>
      <p:sp>
        <p:nvSpPr>
          <p:cNvPr id="28" name="正方形/長方形 27">
            <a:extLst>
              <a:ext uri="{FF2B5EF4-FFF2-40B4-BE49-F238E27FC236}">
                <a16:creationId xmlns:a16="http://schemas.microsoft.com/office/drawing/2014/main" id="{DBA2CD0E-422B-F2E9-2A3D-5FBA8256C608}"/>
              </a:ext>
            </a:extLst>
          </p:cNvPr>
          <p:cNvSpPr/>
          <p:nvPr/>
        </p:nvSpPr>
        <p:spPr bwMode="gray">
          <a:xfrm>
            <a:off x="1311652" y="4623301"/>
            <a:ext cx="858444" cy="360000"/>
          </a:xfrm>
          <a:prstGeom prst="rect">
            <a:avLst/>
          </a:prstGeom>
          <a:solidFill>
            <a:schemeClr val="tx2">
              <a:lumMod val="20000"/>
              <a:lumOff val="80000"/>
            </a:schemeClr>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latin typeface="+mn-lt"/>
                <a:cs typeface="+mn-cs"/>
              </a:rPr>
              <a:t>費用概要</a:t>
            </a: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29" name="正方形/長方形 28">
            <a:extLst>
              <a:ext uri="{FF2B5EF4-FFF2-40B4-BE49-F238E27FC236}">
                <a16:creationId xmlns:a16="http://schemas.microsoft.com/office/drawing/2014/main" id="{894358B9-FFF6-CCAC-6049-093715F8D9FC}"/>
              </a:ext>
            </a:extLst>
          </p:cNvPr>
          <p:cNvSpPr/>
          <p:nvPr/>
        </p:nvSpPr>
        <p:spPr bwMode="gray">
          <a:xfrm>
            <a:off x="1311652" y="5008640"/>
            <a:ext cx="858444" cy="360000"/>
          </a:xfrm>
          <a:prstGeom prst="rect">
            <a:avLst/>
          </a:prstGeom>
          <a:solidFill>
            <a:schemeClr val="tx2">
              <a:lumMod val="20000"/>
              <a:lumOff val="80000"/>
            </a:schemeClr>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latin typeface="+mn-lt"/>
                <a:cs typeface="+mn-cs"/>
              </a:rPr>
              <a:t>想定負担者</a:t>
            </a: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30" name="正方形/長方形 29">
            <a:extLst>
              <a:ext uri="{FF2B5EF4-FFF2-40B4-BE49-F238E27FC236}">
                <a16:creationId xmlns:a16="http://schemas.microsoft.com/office/drawing/2014/main" id="{3C729B6F-76FE-7EA7-98B8-1053CF707A10}"/>
              </a:ext>
            </a:extLst>
          </p:cNvPr>
          <p:cNvSpPr/>
          <p:nvPr/>
        </p:nvSpPr>
        <p:spPr bwMode="gray">
          <a:xfrm>
            <a:off x="1311652" y="5393978"/>
            <a:ext cx="858444" cy="360000"/>
          </a:xfrm>
          <a:prstGeom prst="rect">
            <a:avLst/>
          </a:prstGeom>
          <a:solidFill>
            <a:schemeClr val="tx2">
              <a:lumMod val="20000"/>
              <a:lumOff val="80000"/>
            </a:schemeClr>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effectLst/>
                <a:uLnTx/>
                <a:uFillTx/>
                <a:latin typeface="+mn-lt"/>
                <a:ea typeface="+mn-ea"/>
                <a:cs typeface="+mn-cs"/>
              </a:rPr>
              <a:t>概算金額</a:t>
            </a:r>
          </a:p>
        </p:txBody>
      </p:sp>
      <p:sp>
        <p:nvSpPr>
          <p:cNvPr id="32" name="正方形/長方形 31">
            <a:extLst>
              <a:ext uri="{FF2B5EF4-FFF2-40B4-BE49-F238E27FC236}">
                <a16:creationId xmlns:a16="http://schemas.microsoft.com/office/drawing/2014/main" id="{FF43B82F-3330-F2C0-3113-204D23DF30E0}"/>
              </a:ext>
            </a:extLst>
          </p:cNvPr>
          <p:cNvSpPr/>
          <p:nvPr/>
        </p:nvSpPr>
        <p:spPr bwMode="gray">
          <a:xfrm>
            <a:off x="2352675" y="3398754"/>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34" name="正方形/長方形 33">
            <a:extLst>
              <a:ext uri="{FF2B5EF4-FFF2-40B4-BE49-F238E27FC236}">
                <a16:creationId xmlns:a16="http://schemas.microsoft.com/office/drawing/2014/main" id="{CFB6AC29-719D-BE87-0AB7-C1DC5B0A67DA}"/>
              </a:ext>
            </a:extLst>
          </p:cNvPr>
          <p:cNvSpPr/>
          <p:nvPr/>
        </p:nvSpPr>
        <p:spPr bwMode="gray">
          <a:xfrm>
            <a:off x="2352675" y="3784092"/>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35" name="正方形/長方形 34">
            <a:extLst>
              <a:ext uri="{FF2B5EF4-FFF2-40B4-BE49-F238E27FC236}">
                <a16:creationId xmlns:a16="http://schemas.microsoft.com/office/drawing/2014/main" id="{546D0456-0A53-BDAC-EA9F-92CACF815C35}"/>
              </a:ext>
            </a:extLst>
          </p:cNvPr>
          <p:cNvSpPr/>
          <p:nvPr/>
        </p:nvSpPr>
        <p:spPr bwMode="gray">
          <a:xfrm>
            <a:off x="2352675" y="4169431"/>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38" name="正方形/長方形 37">
            <a:extLst>
              <a:ext uri="{FF2B5EF4-FFF2-40B4-BE49-F238E27FC236}">
                <a16:creationId xmlns:a16="http://schemas.microsoft.com/office/drawing/2014/main" id="{764DFF48-AEF7-3880-4BE0-D9227701B948}"/>
              </a:ext>
            </a:extLst>
          </p:cNvPr>
          <p:cNvSpPr/>
          <p:nvPr/>
        </p:nvSpPr>
        <p:spPr bwMode="gray">
          <a:xfrm>
            <a:off x="6025368" y="3398754"/>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39" name="正方形/長方形 38">
            <a:extLst>
              <a:ext uri="{FF2B5EF4-FFF2-40B4-BE49-F238E27FC236}">
                <a16:creationId xmlns:a16="http://schemas.microsoft.com/office/drawing/2014/main" id="{A85FE66C-A848-2466-6E71-1174BC7861FE}"/>
              </a:ext>
            </a:extLst>
          </p:cNvPr>
          <p:cNvSpPr/>
          <p:nvPr/>
        </p:nvSpPr>
        <p:spPr bwMode="gray">
          <a:xfrm>
            <a:off x="6025368" y="3784092"/>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40" name="正方形/長方形 39">
            <a:extLst>
              <a:ext uri="{FF2B5EF4-FFF2-40B4-BE49-F238E27FC236}">
                <a16:creationId xmlns:a16="http://schemas.microsoft.com/office/drawing/2014/main" id="{8A2530C5-F8AE-72FB-9DAD-4CEFD4DCA225}"/>
              </a:ext>
            </a:extLst>
          </p:cNvPr>
          <p:cNvSpPr/>
          <p:nvPr/>
        </p:nvSpPr>
        <p:spPr bwMode="gray">
          <a:xfrm>
            <a:off x="6025368" y="4169431"/>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42" name="正方形/長方形 41">
            <a:extLst>
              <a:ext uri="{FF2B5EF4-FFF2-40B4-BE49-F238E27FC236}">
                <a16:creationId xmlns:a16="http://schemas.microsoft.com/office/drawing/2014/main" id="{A7B6B193-3B59-3FDB-8339-CBCD1522E369}"/>
              </a:ext>
            </a:extLst>
          </p:cNvPr>
          <p:cNvSpPr/>
          <p:nvPr/>
        </p:nvSpPr>
        <p:spPr bwMode="gray">
          <a:xfrm>
            <a:off x="2352675" y="4623301"/>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43" name="正方形/長方形 42">
            <a:extLst>
              <a:ext uri="{FF2B5EF4-FFF2-40B4-BE49-F238E27FC236}">
                <a16:creationId xmlns:a16="http://schemas.microsoft.com/office/drawing/2014/main" id="{C25945C4-4FD9-A9EE-5431-6CA0552B46B2}"/>
              </a:ext>
            </a:extLst>
          </p:cNvPr>
          <p:cNvSpPr/>
          <p:nvPr/>
        </p:nvSpPr>
        <p:spPr bwMode="gray">
          <a:xfrm>
            <a:off x="2352675" y="5008639"/>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44" name="正方形/長方形 43">
            <a:extLst>
              <a:ext uri="{FF2B5EF4-FFF2-40B4-BE49-F238E27FC236}">
                <a16:creationId xmlns:a16="http://schemas.microsoft.com/office/drawing/2014/main" id="{1D3944CB-6C74-26CF-80B6-91B462062E1D}"/>
              </a:ext>
            </a:extLst>
          </p:cNvPr>
          <p:cNvSpPr/>
          <p:nvPr/>
        </p:nvSpPr>
        <p:spPr bwMode="gray">
          <a:xfrm>
            <a:off x="2352675" y="5393978"/>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46" name="正方形/長方形 45">
            <a:extLst>
              <a:ext uri="{FF2B5EF4-FFF2-40B4-BE49-F238E27FC236}">
                <a16:creationId xmlns:a16="http://schemas.microsoft.com/office/drawing/2014/main" id="{AD625118-066A-2864-6889-B7F5FBCE88C5}"/>
              </a:ext>
            </a:extLst>
          </p:cNvPr>
          <p:cNvSpPr/>
          <p:nvPr/>
        </p:nvSpPr>
        <p:spPr bwMode="gray">
          <a:xfrm>
            <a:off x="6025368" y="4623301"/>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47" name="正方形/長方形 46">
            <a:extLst>
              <a:ext uri="{FF2B5EF4-FFF2-40B4-BE49-F238E27FC236}">
                <a16:creationId xmlns:a16="http://schemas.microsoft.com/office/drawing/2014/main" id="{9B71D29A-3389-0615-3A10-7666870086DC}"/>
              </a:ext>
            </a:extLst>
          </p:cNvPr>
          <p:cNvSpPr/>
          <p:nvPr/>
        </p:nvSpPr>
        <p:spPr bwMode="gray">
          <a:xfrm>
            <a:off x="6025368" y="5008639"/>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48" name="正方形/長方形 47">
            <a:extLst>
              <a:ext uri="{FF2B5EF4-FFF2-40B4-BE49-F238E27FC236}">
                <a16:creationId xmlns:a16="http://schemas.microsoft.com/office/drawing/2014/main" id="{4C48DAB3-769E-5EFD-CB5D-C7F7B7C35EB9}"/>
              </a:ext>
            </a:extLst>
          </p:cNvPr>
          <p:cNvSpPr/>
          <p:nvPr/>
        </p:nvSpPr>
        <p:spPr bwMode="gray">
          <a:xfrm>
            <a:off x="6025368" y="5393978"/>
            <a:ext cx="3481774" cy="360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55" name="正方形/長方形 54">
            <a:extLst>
              <a:ext uri="{FF2B5EF4-FFF2-40B4-BE49-F238E27FC236}">
                <a16:creationId xmlns:a16="http://schemas.microsoft.com/office/drawing/2014/main" id="{72F352F0-647A-E7BA-1539-F34B819CEC72}"/>
              </a:ext>
            </a:extLst>
          </p:cNvPr>
          <p:cNvSpPr/>
          <p:nvPr/>
        </p:nvSpPr>
        <p:spPr bwMode="gray">
          <a:xfrm>
            <a:off x="2352675" y="5817810"/>
            <a:ext cx="3481774" cy="627314"/>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56" name="正方形/長方形 55">
            <a:extLst>
              <a:ext uri="{FF2B5EF4-FFF2-40B4-BE49-F238E27FC236}">
                <a16:creationId xmlns:a16="http://schemas.microsoft.com/office/drawing/2014/main" id="{3C63B1BA-8D74-608B-58B7-44E9FE4A731D}"/>
              </a:ext>
            </a:extLst>
          </p:cNvPr>
          <p:cNvSpPr/>
          <p:nvPr/>
        </p:nvSpPr>
        <p:spPr bwMode="gray">
          <a:xfrm>
            <a:off x="6025368" y="5817810"/>
            <a:ext cx="3481774" cy="627314"/>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50" b="0" i="0" u="none" strike="noStrike" kern="1200" cap="none" spc="0" normalizeH="0" baseline="0" noProof="0" dirty="0">
              <a:ln>
                <a:noFill/>
              </a:ln>
              <a:effectLst/>
              <a:uLnTx/>
              <a:uFillTx/>
              <a:latin typeface="+mn-lt"/>
              <a:ea typeface="+mn-ea"/>
              <a:cs typeface="+mn-cs"/>
            </a:endParaRPr>
          </a:p>
        </p:txBody>
      </p:sp>
      <p:sp>
        <p:nvSpPr>
          <p:cNvPr id="3" name="正方形/長方形 2">
            <a:extLst>
              <a:ext uri="{FF2B5EF4-FFF2-40B4-BE49-F238E27FC236}">
                <a16:creationId xmlns:a16="http://schemas.microsoft.com/office/drawing/2014/main" id="{61E19E9D-84C8-47EB-F18E-1E026DE305A4}"/>
              </a:ext>
            </a:extLst>
          </p:cNvPr>
          <p:cNvSpPr/>
          <p:nvPr/>
        </p:nvSpPr>
        <p:spPr>
          <a:xfrm>
            <a:off x="6895070" y="1562326"/>
            <a:ext cx="2612076" cy="326773"/>
          </a:xfrm>
          <a:prstGeom prst="rect">
            <a:avLst/>
          </a:prstGeom>
          <a:solidFill>
            <a:schemeClr val="accent5"/>
          </a:solidFill>
          <a:ln w="190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kern="0" dirty="0">
                <a:solidFill>
                  <a:schemeClr val="bg1"/>
                </a:solidFill>
                <a:latin typeface="+mn-ea"/>
                <a:cs typeface="+mn-cs"/>
              </a:rPr>
              <a:t>補足説明・備考があればこちらに記載ください</a:t>
            </a:r>
            <a:endParaRPr kumimoji="1" lang="ja-JP" altLang="en-US" sz="1050" b="1" i="0" u="none" strike="noStrike" kern="0" cap="none" spc="0" normalizeH="0" baseline="0" noProof="0" dirty="0">
              <a:ln>
                <a:noFill/>
              </a:ln>
              <a:solidFill>
                <a:schemeClr val="bg1"/>
              </a:solidFill>
              <a:effectLst/>
              <a:uLnTx/>
              <a:uFillTx/>
              <a:latin typeface="+mn-ea"/>
              <a:cs typeface="+mn-cs"/>
            </a:endParaRPr>
          </a:p>
        </p:txBody>
      </p:sp>
      <p:sp>
        <p:nvSpPr>
          <p:cNvPr id="4" name="正方形/長方形 3">
            <a:extLst>
              <a:ext uri="{FF2B5EF4-FFF2-40B4-BE49-F238E27FC236}">
                <a16:creationId xmlns:a16="http://schemas.microsoft.com/office/drawing/2014/main" id="{E0956648-BA87-7267-16D1-728F6BED53D9}"/>
              </a:ext>
            </a:extLst>
          </p:cNvPr>
          <p:cNvSpPr/>
          <p:nvPr/>
        </p:nvSpPr>
        <p:spPr>
          <a:xfrm>
            <a:off x="6895069" y="1934663"/>
            <a:ext cx="2612073" cy="547200"/>
          </a:xfrm>
          <a:prstGeom prst="rect">
            <a:avLst/>
          </a:prstGeom>
          <a:solidFill>
            <a:schemeClr val="bg1"/>
          </a:solidFill>
          <a:ln w="12700" algn="ctr">
            <a:solidFill>
              <a:schemeClr val="accent5"/>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endParaRPr kumimoji="1" lang="ja-JP" altLang="en-US" sz="1200" dirty="0"/>
          </a:p>
        </p:txBody>
      </p:sp>
      <p:sp>
        <p:nvSpPr>
          <p:cNvPr id="11" name="正方形/長方形 10">
            <a:extLst>
              <a:ext uri="{FF2B5EF4-FFF2-40B4-BE49-F238E27FC236}">
                <a16:creationId xmlns:a16="http://schemas.microsoft.com/office/drawing/2014/main" id="{04037AC7-0860-EC91-0ED8-631D4B4130D4}"/>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200"/>
              </a:lnSpc>
              <a:spcBef>
                <a:spcPts val="0"/>
              </a:spcBef>
              <a:spcAft>
                <a:spcPts val="0"/>
              </a:spcAft>
              <a:buSzPct val="100000"/>
            </a:pPr>
            <a:r>
              <a:rPr kumimoji="1" lang="en-US" altLang="ja-JP" sz="1050" dirty="0">
                <a:solidFill>
                  <a:srgbClr val="C00000"/>
                </a:solidFill>
                <a:latin typeface="+mn-ea"/>
                <a:cs typeface="+mn-cs"/>
              </a:rPr>
              <a:t>※</a:t>
            </a:r>
            <a:r>
              <a:rPr kumimoji="1" lang="ja-JP" altLang="en-US" sz="1050" dirty="0">
                <a:solidFill>
                  <a:srgbClr val="C00000"/>
                </a:solidFill>
                <a:latin typeface="+mn-ea"/>
                <a:cs typeface="+mn-cs"/>
              </a:rPr>
              <a:t>適宜レイアウトを調整し、</a:t>
            </a:r>
            <a:r>
              <a:rPr kumimoji="1" lang="en-US" altLang="ja-JP" sz="1050" dirty="0">
                <a:solidFill>
                  <a:srgbClr val="C00000"/>
                </a:solidFill>
                <a:latin typeface="+mn-ea"/>
              </a:rPr>
              <a:t>1</a:t>
            </a:r>
            <a:r>
              <a:rPr kumimoji="1" lang="ja-JP" altLang="en-US" sz="1050" dirty="0">
                <a:solidFill>
                  <a:srgbClr val="C00000"/>
                </a:solidFill>
                <a:latin typeface="+mn-ea"/>
              </a:rPr>
              <a:t>枚に収まるようにご記載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27752411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436913-DDCD-4420-924B-DB039CFE5886}"/>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sp>
        <p:nvSpPr>
          <p:cNvPr id="4" name="テキスト ボックス 3">
            <a:extLst>
              <a:ext uri="{FF2B5EF4-FFF2-40B4-BE49-F238E27FC236}">
                <a16:creationId xmlns:a16="http://schemas.microsoft.com/office/drawing/2014/main" id="{2EA7B675-4EF3-F78C-D520-5B7849CE4D3D}"/>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１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質疑書</a:t>
            </a:r>
          </a:p>
        </p:txBody>
      </p:sp>
      <p:sp>
        <p:nvSpPr>
          <p:cNvPr id="11" name="Rectangle 10">
            <a:extLst>
              <a:ext uri="{FF2B5EF4-FFF2-40B4-BE49-F238E27FC236}">
                <a16:creationId xmlns:a16="http://schemas.microsoft.com/office/drawing/2014/main" id="{E44545CB-6E7C-70EC-E293-36F2C3137D19}"/>
              </a:ext>
            </a:extLst>
          </p:cNvPr>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ja-JP" altLang="en-US"/>
          </a:p>
        </p:txBody>
      </p:sp>
      <p:sp>
        <p:nvSpPr>
          <p:cNvPr id="7" name="正方形/長方形 6">
            <a:extLst>
              <a:ext uri="{FF2B5EF4-FFF2-40B4-BE49-F238E27FC236}">
                <a16:creationId xmlns:a16="http://schemas.microsoft.com/office/drawing/2014/main" id="{751E6D75-AD38-2FD7-1616-CDE2DB6EDD99}"/>
              </a:ext>
            </a:extLst>
          </p:cNvPr>
          <p:cNvSpPr/>
          <p:nvPr/>
        </p:nvSpPr>
        <p:spPr>
          <a:xfrm>
            <a:off x="417600" y="674057"/>
            <a:ext cx="1125449" cy="362403"/>
          </a:xfrm>
          <a:prstGeom prst="rect">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kern="0">
                <a:solidFill>
                  <a:schemeClr val="bg1"/>
                </a:solidFill>
                <a:latin typeface="+mn-ea"/>
                <a:cs typeface="+mn-cs"/>
              </a:rPr>
              <a:t>案件名</a:t>
            </a:r>
            <a:endParaRPr kumimoji="1" lang="ja-JP" altLang="en-US" sz="1200" b="0" i="0" u="none" strike="noStrike" kern="0" cap="none" spc="0" normalizeH="0" baseline="0" noProof="0">
              <a:ln>
                <a:noFill/>
              </a:ln>
              <a:solidFill>
                <a:schemeClr val="bg1"/>
              </a:solidFill>
              <a:effectLst/>
              <a:uLnTx/>
              <a:uFillTx/>
              <a:latin typeface="+mn-ea"/>
              <a:cs typeface="+mn-cs"/>
            </a:endParaRPr>
          </a:p>
        </p:txBody>
      </p:sp>
      <p:sp>
        <p:nvSpPr>
          <p:cNvPr id="8" name="正方形/長方形 7">
            <a:extLst>
              <a:ext uri="{FF2B5EF4-FFF2-40B4-BE49-F238E27FC236}">
                <a16:creationId xmlns:a16="http://schemas.microsoft.com/office/drawing/2014/main" id="{27E44681-3432-F383-0D69-8FC7A30626F4}"/>
              </a:ext>
            </a:extLst>
          </p:cNvPr>
          <p:cNvSpPr/>
          <p:nvPr/>
        </p:nvSpPr>
        <p:spPr>
          <a:xfrm>
            <a:off x="1658983" y="674057"/>
            <a:ext cx="7722900" cy="362403"/>
          </a:xfrm>
          <a:prstGeom prst="rect">
            <a:avLst/>
          </a:prstGeom>
          <a:solidFill>
            <a:sysClr val="window" lastClr="FFFFFF"/>
          </a:solidFill>
          <a:ln w="12700" cap="flat" cmpd="sng" algn="ctr">
            <a:solidFill>
              <a:schemeClr val="tx1">
                <a:lumMod val="50000"/>
                <a:lumOff val="50000"/>
              </a:schemeClr>
            </a:solidFill>
            <a:prstDash val="solid"/>
            <a:miter lim="800000"/>
          </a:ln>
          <a:effectLst/>
        </p:spPr>
        <p:txBody>
          <a:bodyPr rtlCol="0" anchor="ctr"/>
          <a:lstStyle/>
          <a:p>
            <a:pPr algn="ctr"/>
            <a:r>
              <a:rPr lang="ja-JP" altLang="ja-JP" sz="1200" kern="100" dirty="0">
                <a:effectLst/>
                <a:latin typeface="+mn-ea"/>
                <a:cs typeface="Times New Roman" panose="02020603050405020304" pitchFamily="18" charset="0"/>
              </a:rPr>
              <a:t>令和</a:t>
            </a:r>
            <a:r>
              <a:rPr lang="ja-JP" altLang="en-US" sz="1200" kern="100" dirty="0">
                <a:effectLst/>
                <a:latin typeface="+mn-ea"/>
                <a:cs typeface="Times New Roman" panose="02020603050405020304" pitchFamily="18" charset="0"/>
              </a:rPr>
              <a:t>８</a:t>
            </a:r>
            <a:r>
              <a:rPr lang="ja-JP" altLang="ja-JP" sz="1200" kern="100" dirty="0">
                <a:effectLst/>
                <a:latin typeface="+mn-ea"/>
                <a:cs typeface="Times New Roman" panose="02020603050405020304" pitchFamily="18" charset="0"/>
              </a:rPr>
              <a:t>年度　官民協働プロジェクト推進事業</a:t>
            </a:r>
            <a:r>
              <a:rPr lang="ja-JP" altLang="en-US" sz="1200" kern="100" dirty="0">
                <a:effectLst/>
                <a:latin typeface="+mn-ea"/>
                <a:cs typeface="Times New Roman" panose="02020603050405020304" pitchFamily="18" charset="0"/>
              </a:rPr>
              <a:t>（</a:t>
            </a:r>
            <a:r>
              <a:rPr lang="ja-JP" altLang="ja-JP" sz="1200" dirty="0">
                <a:effectLst/>
                <a:latin typeface="+mn-ea"/>
                <a:cs typeface="Times New Roman" panose="02020603050405020304" pitchFamily="18" charset="0"/>
              </a:rPr>
              <a:t>デジタル技術等を活用した地域課題等の解決に向けた提案に関する募集</a:t>
            </a:r>
            <a:r>
              <a:rPr lang="ja-JP" altLang="en-US" sz="1200" dirty="0">
                <a:effectLst/>
                <a:latin typeface="+mn-ea"/>
                <a:cs typeface="Times New Roman" panose="02020603050405020304" pitchFamily="18" charset="0"/>
              </a:rPr>
              <a:t>）</a:t>
            </a:r>
            <a:endParaRPr kumimoji="1" lang="ja-JP" altLang="en-US" sz="1000" kern="0" dirty="0">
              <a:latin typeface="+mn-ea"/>
              <a:cs typeface="+mn-cs"/>
            </a:endParaRPr>
          </a:p>
        </p:txBody>
      </p:sp>
      <p:sp>
        <p:nvSpPr>
          <p:cNvPr id="10" name="テキスト ボックス 9">
            <a:extLst>
              <a:ext uri="{FF2B5EF4-FFF2-40B4-BE49-F238E27FC236}">
                <a16:creationId xmlns:a16="http://schemas.microsoft.com/office/drawing/2014/main" id="{7A9B3E18-6E9B-E050-4A6A-18AB0306D3B3}"/>
              </a:ext>
            </a:extLst>
          </p:cNvPr>
          <p:cNvSpPr txBox="1"/>
          <p:nvPr/>
        </p:nvSpPr>
        <p:spPr bwMode="gray">
          <a:xfrm>
            <a:off x="423886" y="4559792"/>
            <a:ext cx="1399032" cy="209224"/>
          </a:xfrm>
          <a:prstGeom prst="rect">
            <a:avLst/>
          </a:prstGeom>
          <a:noFill/>
        </p:spPr>
        <p:txBody>
          <a:bodyPr wrap="square" lIns="0" tIns="0" rIns="0" bIns="0" rtlCol="0">
            <a:spAutoFit/>
          </a:bodyPr>
          <a:lstStyle/>
          <a:p>
            <a:pPr marL="0" marR="0" indent="0" algn="l" defTabSz="990564" rtl="0" eaLnBrk="1" fontAlgn="auto" latinLnBrk="0" hangingPunct="1">
              <a:lnSpc>
                <a:spcPts val="1800"/>
              </a:lnSpc>
              <a:spcBef>
                <a:spcPts val="0"/>
              </a:spcBef>
              <a:spcAft>
                <a:spcPts val="0"/>
              </a:spcAft>
              <a:buClrTx/>
              <a:buSzPct val="100000"/>
              <a:buFont typeface="Wingdings" panose="05000000000000000000" pitchFamily="2" charset="2"/>
              <a:buNone/>
              <a:tabLst/>
            </a:pPr>
            <a:r>
              <a:rPr kumimoji="1" lang="ja-JP" altLang="en-US" sz="1100" b="1" dirty="0">
                <a:solidFill>
                  <a:prstClr val="black"/>
                </a:solidFill>
                <a:latin typeface="+mn-lt"/>
                <a:cs typeface="+mn-cs"/>
              </a:rPr>
              <a:t>徳島県知事</a:t>
            </a:r>
            <a:r>
              <a:rPr kumimoji="1" lang="ja-JP" altLang="en-US" sz="1100" b="1" i="0" u="none" strike="noStrike" kern="1200" cap="none" spc="0" normalizeH="0" baseline="0" noProof="0" dirty="0">
                <a:ln>
                  <a:noFill/>
                </a:ln>
                <a:solidFill>
                  <a:prstClr val="black"/>
                </a:solidFill>
                <a:effectLst/>
                <a:uLnTx/>
                <a:uFillTx/>
                <a:latin typeface="+mn-lt"/>
                <a:ea typeface="+mn-ea"/>
                <a:cs typeface="+mn-cs"/>
              </a:rPr>
              <a:t>　様</a:t>
            </a:r>
          </a:p>
        </p:txBody>
      </p:sp>
      <p:sp>
        <p:nvSpPr>
          <p:cNvPr id="14" name="正方形/長方形 13">
            <a:extLst>
              <a:ext uri="{FF2B5EF4-FFF2-40B4-BE49-F238E27FC236}">
                <a16:creationId xmlns:a16="http://schemas.microsoft.com/office/drawing/2014/main" id="{A351487E-C6A3-51AE-0DF6-49265DD44CF1}"/>
              </a:ext>
            </a:extLst>
          </p:cNvPr>
          <p:cNvSpPr/>
          <p:nvPr/>
        </p:nvSpPr>
        <p:spPr>
          <a:xfrm>
            <a:off x="922919" y="1112920"/>
            <a:ext cx="1800000" cy="209224"/>
          </a:xfrm>
          <a:prstGeom prst="rect">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kern="0" dirty="0">
                <a:solidFill>
                  <a:schemeClr val="bg1"/>
                </a:solidFill>
                <a:latin typeface="+mn-ea"/>
                <a:cs typeface="+mn-cs"/>
              </a:rPr>
              <a:t>該当資料</a:t>
            </a:r>
            <a:endParaRPr kumimoji="1" lang="ja-JP" altLang="en-US" sz="1200" b="0" i="0" u="none" strike="noStrike" kern="0" cap="none" spc="0" normalizeH="0" baseline="0" noProof="0" dirty="0">
              <a:ln>
                <a:noFill/>
              </a:ln>
              <a:solidFill>
                <a:schemeClr val="bg1"/>
              </a:solidFill>
              <a:effectLst/>
              <a:uLnTx/>
              <a:uFillTx/>
              <a:latin typeface="+mn-ea"/>
              <a:cs typeface="+mn-cs"/>
            </a:endParaRPr>
          </a:p>
        </p:txBody>
      </p:sp>
      <p:sp>
        <p:nvSpPr>
          <p:cNvPr id="16" name="正方形/長方形 15">
            <a:extLst>
              <a:ext uri="{FF2B5EF4-FFF2-40B4-BE49-F238E27FC236}">
                <a16:creationId xmlns:a16="http://schemas.microsoft.com/office/drawing/2014/main" id="{BC2E35DF-A788-7BCA-0449-38199CDC4B12}"/>
              </a:ext>
            </a:extLst>
          </p:cNvPr>
          <p:cNvSpPr/>
          <p:nvPr/>
        </p:nvSpPr>
        <p:spPr>
          <a:xfrm>
            <a:off x="417600" y="1112920"/>
            <a:ext cx="432000" cy="209224"/>
          </a:xfrm>
          <a:prstGeom prst="rect">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200" kern="0" dirty="0">
                <a:solidFill>
                  <a:schemeClr val="bg1"/>
                </a:solidFill>
                <a:latin typeface="+mn-ea"/>
                <a:cs typeface="+mn-cs"/>
              </a:rPr>
              <a:t>No.</a:t>
            </a:r>
            <a:endParaRPr kumimoji="1" lang="ja-JP" altLang="en-US" sz="1200" b="0" i="0" u="none" strike="noStrike" kern="0" cap="none" spc="0" normalizeH="0" baseline="0" noProof="0" dirty="0">
              <a:ln>
                <a:noFill/>
              </a:ln>
              <a:solidFill>
                <a:schemeClr val="bg1"/>
              </a:solidFill>
              <a:effectLst/>
              <a:uLnTx/>
              <a:uFillTx/>
              <a:latin typeface="+mn-ea"/>
              <a:cs typeface="+mn-cs"/>
            </a:endParaRPr>
          </a:p>
        </p:txBody>
      </p:sp>
      <p:sp>
        <p:nvSpPr>
          <p:cNvPr id="17" name="正方形/長方形 16">
            <a:extLst>
              <a:ext uri="{FF2B5EF4-FFF2-40B4-BE49-F238E27FC236}">
                <a16:creationId xmlns:a16="http://schemas.microsoft.com/office/drawing/2014/main" id="{6F30CA86-2942-8861-85D7-D378633D7A96}"/>
              </a:ext>
            </a:extLst>
          </p:cNvPr>
          <p:cNvSpPr/>
          <p:nvPr/>
        </p:nvSpPr>
        <p:spPr>
          <a:xfrm>
            <a:off x="2796238" y="1112920"/>
            <a:ext cx="2196000" cy="209224"/>
          </a:xfrm>
          <a:prstGeom prst="rect">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chemeClr val="bg1"/>
                </a:solidFill>
                <a:effectLst/>
                <a:uLnTx/>
                <a:uFillTx/>
                <a:latin typeface="+mn-ea"/>
                <a:cs typeface="+mn-cs"/>
              </a:rPr>
              <a:t>該当項目・箇所</a:t>
            </a:r>
          </a:p>
        </p:txBody>
      </p:sp>
      <p:sp>
        <p:nvSpPr>
          <p:cNvPr id="18" name="正方形/長方形 17">
            <a:extLst>
              <a:ext uri="{FF2B5EF4-FFF2-40B4-BE49-F238E27FC236}">
                <a16:creationId xmlns:a16="http://schemas.microsoft.com/office/drawing/2014/main" id="{B090C270-874E-A7FB-F613-05C7150CC0FB}"/>
              </a:ext>
            </a:extLst>
          </p:cNvPr>
          <p:cNvSpPr/>
          <p:nvPr/>
        </p:nvSpPr>
        <p:spPr>
          <a:xfrm>
            <a:off x="5065558" y="1112920"/>
            <a:ext cx="4316325" cy="209224"/>
          </a:xfrm>
          <a:prstGeom prst="rect">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chemeClr val="bg1"/>
                </a:solidFill>
                <a:effectLst/>
                <a:uLnTx/>
                <a:uFillTx/>
                <a:latin typeface="+mn-ea"/>
                <a:cs typeface="+mn-cs"/>
              </a:rPr>
              <a:t>質問事項</a:t>
            </a:r>
          </a:p>
        </p:txBody>
      </p:sp>
      <p:sp>
        <p:nvSpPr>
          <p:cNvPr id="19" name="正方形/長方形 18">
            <a:extLst>
              <a:ext uri="{FF2B5EF4-FFF2-40B4-BE49-F238E27FC236}">
                <a16:creationId xmlns:a16="http://schemas.microsoft.com/office/drawing/2014/main" id="{1556C23D-20E3-14F0-311C-148CE935648F}"/>
              </a:ext>
            </a:extLst>
          </p:cNvPr>
          <p:cNvSpPr/>
          <p:nvPr/>
        </p:nvSpPr>
        <p:spPr>
          <a:xfrm>
            <a:off x="922918" y="1375059"/>
            <a:ext cx="1800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20" name="正方形/長方形 19">
            <a:extLst>
              <a:ext uri="{FF2B5EF4-FFF2-40B4-BE49-F238E27FC236}">
                <a16:creationId xmlns:a16="http://schemas.microsoft.com/office/drawing/2014/main" id="{71E9C5C9-575B-B543-786A-99CA3A72EDF0}"/>
              </a:ext>
            </a:extLst>
          </p:cNvPr>
          <p:cNvSpPr/>
          <p:nvPr/>
        </p:nvSpPr>
        <p:spPr>
          <a:xfrm>
            <a:off x="417599" y="1375059"/>
            <a:ext cx="432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effectLst/>
                <a:uLnTx/>
                <a:uFillTx/>
                <a:latin typeface="+mn-ea"/>
                <a:cs typeface="+mn-cs"/>
              </a:rPr>
              <a:t>1</a:t>
            </a:r>
          </a:p>
        </p:txBody>
      </p:sp>
      <p:sp>
        <p:nvSpPr>
          <p:cNvPr id="21" name="正方形/長方形 20">
            <a:extLst>
              <a:ext uri="{FF2B5EF4-FFF2-40B4-BE49-F238E27FC236}">
                <a16:creationId xmlns:a16="http://schemas.microsoft.com/office/drawing/2014/main" id="{5EAB68E0-78C1-8BA4-71BB-532170ECFF35}"/>
              </a:ext>
            </a:extLst>
          </p:cNvPr>
          <p:cNvSpPr/>
          <p:nvPr/>
        </p:nvSpPr>
        <p:spPr>
          <a:xfrm>
            <a:off x="2796237" y="1375059"/>
            <a:ext cx="2196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22" name="正方形/長方形 21">
            <a:extLst>
              <a:ext uri="{FF2B5EF4-FFF2-40B4-BE49-F238E27FC236}">
                <a16:creationId xmlns:a16="http://schemas.microsoft.com/office/drawing/2014/main" id="{4F24A8F6-6567-8E45-7A31-E2808CA182C6}"/>
              </a:ext>
            </a:extLst>
          </p:cNvPr>
          <p:cNvSpPr/>
          <p:nvPr/>
        </p:nvSpPr>
        <p:spPr>
          <a:xfrm>
            <a:off x="5065557" y="1375059"/>
            <a:ext cx="4316325"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25" name="正方形/長方形 24">
            <a:extLst>
              <a:ext uri="{FF2B5EF4-FFF2-40B4-BE49-F238E27FC236}">
                <a16:creationId xmlns:a16="http://schemas.microsoft.com/office/drawing/2014/main" id="{1A2B9081-AB60-51D2-472E-18AB2A3C8101}"/>
              </a:ext>
            </a:extLst>
          </p:cNvPr>
          <p:cNvSpPr/>
          <p:nvPr/>
        </p:nvSpPr>
        <p:spPr>
          <a:xfrm>
            <a:off x="922918" y="2100155"/>
            <a:ext cx="1800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26" name="正方形/長方形 25">
            <a:extLst>
              <a:ext uri="{FF2B5EF4-FFF2-40B4-BE49-F238E27FC236}">
                <a16:creationId xmlns:a16="http://schemas.microsoft.com/office/drawing/2014/main" id="{09B68073-E4A4-D9E9-7519-196AE8C29DAF}"/>
              </a:ext>
            </a:extLst>
          </p:cNvPr>
          <p:cNvSpPr/>
          <p:nvPr/>
        </p:nvSpPr>
        <p:spPr>
          <a:xfrm>
            <a:off x="417599" y="2100155"/>
            <a:ext cx="432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effectLst/>
                <a:uLnTx/>
                <a:uFillTx/>
                <a:latin typeface="+mn-ea"/>
                <a:cs typeface="+mn-cs"/>
              </a:rPr>
              <a:t>2</a:t>
            </a:r>
            <a:endParaRPr kumimoji="1" lang="ja-JP" altLang="en-US" sz="1200" b="0" i="0" u="none" strike="noStrike" kern="0" cap="none" spc="0" normalizeH="0" baseline="0" noProof="0" dirty="0">
              <a:ln>
                <a:noFill/>
              </a:ln>
              <a:effectLst/>
              <a:uLnTx/>
              <a:uFillTx/>
              <a:latin typeface="+mn-ea"/>
              <a:cs typeface="+mn-cs"/>
            </a:endParaRPr>
          </a:p>
        </p:txBody>
      </p:sp>
      <p:sp>
        <p:nvSpPr>
          <p:cNvPr id="27" name="正方形/長方形 26">
            <a:extLst>
              <a:ext uri="{FF2B5EF4-FFF2-40B4-BE49-F238E27FC236}">
                <a16:creationId xmlns:a16="http://schemas.microsoft.com/office/drawing/2014/main" id="{88AE67F7-2117-30F6-2E75-301CAD3E4A95}"/>
              </a:ext>
            </a:extLst>
          </p:cNvPr>
          <p:cNvSpPr/>
          <p:nvPr/>
        </p:nvSpPr>
        <p:spPr>
          <a:xfrm>
            <a:off x="2796237" y="2100155"/>
            <a:ext cx="2196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28" name="正方形/長方形 27">
            <a:extLst>
              <a:ext uri="{FF2B5EF4-FFF2-40B4-BE49-F238E27FC236}">
                <a16:creationId xmlns:a16="http://schemas.microsoft.com/office/drawing/2014/main" id="{DE1E5ACE-B3BC-EC19-E5C7-EC940E724A03}"/>
              </a:ext>
            </a:extLst>
          </p:cNvPr>
          <p:cNvSpPr/>
          <p:nvPr/>
        </p:nvSpPr>
        <p:spPr>
          <a:xfrm>
            <a:off x="5065557" y="2100155"/>
            <a:ext cx="4316325"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30" name="正方形/長方形 29">
            <a:extLst>
              <a:ext uri="{FF2B5EF4-FFF2-40B4-BE49-F238E27FC236}">
                <a16:creationId xmlns:a16="http://schemas.microsoft.com/office/drawing/2014/main" id="{97304DBB-EAEF-6C88-4ADD-8CB48D276A4E}"/>
              </a:ext>
            </a:extLst>
          </p:cNvPr>
          <p:cNvSpPr/>
          <p:nvPr/>
        </p:nvSpPr>
        <p:spPr>
          <a:xfrm>
            <a:off x="922918" y="2825251"/>
            <a:ext cx="1800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31" name="正方形/長方形 30">
            <a:extLst>
              <a:ext uri="{FF2B5EF4-FFF2-40B4-BE49-F238E27FC236}">
                <a16:creationId xmlns:a16="http://schemas.microsoft.com/office/drawing/2014/main" id="{41FF1E3D-49DE-78F4-5042-519ADAABF232}"/>
              </a:ext>
            </a:extLst>
          </p:cNvPr>
          <p:cNvSpPr/>
          <p:nvPr/>
        </p:nvSpPr>
        <p:spPr>
          <a:xfrm>
            <a:off x="417599" y="2825251"/>
            <a:ext cx="432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effectLst/>
                <a:uLnTx/>
                <a:uFillTx/>
                <a:latin typeface="+mn-ea"/>
                <a:cs typeface="+mn-cs"/>
              </a:rPr>
              <a:t>3</a:t>
            </a:r>
            <a:endParaRPr kumimoji="1" lang="ja-JP" altLang="en-US" sz="1200" b="0" i="0" u="none" strike="noStrike" kern="0" cap="none" spc="0" normalizeH="0" baseline="0" noProof="0" dirty="0">
              <a:ln>
                <a:noFill/>
              </a:ln>
              <a:effectLst/>
              <a:uLnTx/>
              <a:uFillTx/>
              <a:latin typeface="+mn-ea"/>
              <a:cs typeface="+mn-cs"/>
            </a:endParaRPr>
          </a:p>
        </p:txBody>
      </p:sp>
      <p:sp>
        <p:nvSpPr>
          <p:cNvPr id="32" name="正方形/長方形 31">
            <a:extLst>
              <a:ext uri="{FF2B5EF4-FFF2-40B4-BE49-F238E27FC236}">
                <a16:creationId xmlns:a16="http://schemas.microsoft.com/office/drawing/2014/main" id="{AB04D5D3-6E02-60E4-90C7-10F81AB57D22}"/>
              </a:ext>
            </a:extLst>
          </p:cNvPr>
          <p:cNvSpPr/>
          <p:nvPr/>
        </p:nvSpPr>
        <p:spPr>
          <a:xfrm>
            <a:off x="2796237" y="2825251"/>
            <a:ext cx="2196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33" name="正方形/長方形 32">
            <a:extLst>
              <a:ext uri="{FF2B5EF4-FFF2-40B4-BE49-F238E27FC236}">
                <a16:creationId xmlns:a16="http://schemas.microsoft.com/office/drawing/2014/main" id="{0257C1EE-A242-BB66-315E-3564CB7E0B99}"/>
              </a:ext>
            </a:extLst>
          </p:cNvPr>
          <p:cNvSpPr/>
          <p:nvPr/>
        </p:nvSpPr>
        <p:spPr>
          <a:xfrm>
            <a:off x="5065557" y="2825251"/>
            <a:ext cx="4316325"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35" name="正方形/長方形 34">
            <a:extLst>
              <a:ext uri="{FF2B5EF4-FFF2-40B4-BE49-F238E27FC236}">
                <a16:creationId xmlns:a16="http://schemas.microsoft.com/office/drawing/2014/main" id="{1ADDA2F3-181F-168E-A7B1-FB9A5E9F0D37}"/>
              </a:ext>
            </a:extLst>
          </p:cNvPr>
          <p:cNvSpPr/>
          <p:nvPr/>
        </p:nvSpPr>
        <p:spPr>
          <a:xfrm>
            <a:off x="922918" y="3550346"/>
            <a:ext cx="1800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36" name="正方形/長方形 35">
            <a:extLst>
              <a:ext uri="{FF2B5EF4-FFF2-40B4-BE49-F238E27FC236}">
                <a16:creationId xmlns:a16="http://schemas.microsoft.com/office/drawing/2014/main" id="{164E0BA7-197F-2EC4-E6B0-5923BB83B359}"/>
              </a:ext>
            </a:extLst>
          </p:cNvPr>
          <p:cNvSpPr/>
          <p:nvPr/>
        </p:nvSpPr>
        <p:spPr>
          <a:xfrm>
            <a:off x="417599" y="3550346"/>
            <a:ext cx="432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effectLst/>
                <a:uLnTx/>
                <a:uFillTx/>
                <a:latin typeface="+mn-ea"/>
                <a:cs typeface="+mn-cs"/>
              </a:rPr>
              <a:t>4</a:t>
            </a:r>
            <a:endParaRPr kumimoji="1" lang="ja-JP" altLang="en-US" sz="1200" b="0" i="0" u="none" strike="noStrike" kern="0" cap="none" spc="0" normalizeH="0" baseline="0" noProof="0" dirty="0">
              <a:ln>
                <a:noFill/>
              </a:ln>
              <a:effectLst/>
              <a:uLnTx/>
              <a:uFillTx/>
              <a:latin typeface="+mn-ea"/>
              <a:cs typeface="+mn-cs"/>
            </a:endParaRPr>
          </a:p>
        </p:txBody>
      </p:sp>
      <p:sp>
        <p:nvSpPr>
          <p:cNvPr id="37" name="正方形/長方形 36">
            <a:extLst>
              <a:ext uri="{FF2B5EF4-FFF2-40B4-BE49-F238E27FC236}">
                <a16:creationId xmlns:a16="http://schemas.microsoft.com/office/drawing/2014/main" id="{9C74F3D0-097C-F597-F0A4-0D5952685731}"/>
              </a:ext>
            </a:extLst>
          </p:cNvPr>
          <p:cNvSpPr/>
          <p:nvPr/>
        </p:nvSpPr>
        <p:spPr>
          <a:xfrm>
            <a:off x="2796237" y="3550346"/>
            <a:ext cx="2196000"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sp>
        <p:nvSpPr>
          <p:cNvPr id="38" name="正方形/長方形 37">
            <a:extLst>
              <a:ext uri="{FF2B5EF4-FFF2-40B4-BE49-F238E27FC236}">
                <a16:creationId xmlns:a16="http://schemas.microsoft.com/office/drawing/2014/main" id="{66798B44-DEF0-C53D-C51E-8A7451207DED}"/>
              </a:ext>
            </a:extLst>
          </p:cNvPr>
          <p:cNvSpPr/>
          <p:nvPr/>
        </p:nvSpPr>
        <p:spPr>
          <a:xfrm>
            <a:off x="5065557" y="3550346"/>
            <a:ext cx="4316325" cy="640653"/>
          </a:xfrm>
          <a:prstGeom prst="rect">
            <a:avLst/>
          </a:prstGeom>
          <a:solidFill>
            <a:schemeClr val="bg1"/>
          </a:solidFill>
          <a:ln w="12700" cap="flat" cmpd="sng" algn="ctr">
            <a:solidFill>
              <a:schemeClr val="tx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effectLst/>
              <a:uLnTx/>
              <a:uFillTx/>
              <a:latin typeface="+mn-ea"/>
              <a:cs typeface="+mn-cs"/>
            </a:endParaRPr>
          </a:p>
        </p:txBody>
      </p:sp>
      <p:graphicFrame>
        <p:nvGraphicFramePr>
          <p:cNvPr id="3" name="表 2">
            <a:extLst>
              <a:ext uri="{FF2B5EF4-FFF2-40B4-BE49-F238E27FC236}">
                <a16:creationId xmlns:a16="http://schemas.microsoft.com/office/drawing/2014/main" id="{C25CA815-3FCC-B3FC-E6CC-5BCA78CFD604}"/>
              </a:ext>
            </a:extLst>
          </p:cNvPr>
          <p:cNvGraphicFramePr>
            <a:graphicFrameLocks noGrp="1"/>
          </p:cNvGraphicFramePr>
          <p:nvPr>
            <p:extLst>
              <p:ext uri="{D42A27DB-BD31-4B8C-83A1-F6EECF244321}">
                <p14:modId xmlns:p14="http://schemas.microsoft.com/office/powerpoint/2010/main" val="1783931182"/>
              </p:ext>
            </p:extLst>
          </p:nvPr>
        </p:nvGraphicFramePr>
        <p:xfrm>
          <a:off x="2470917" y="4826790"/>
          <a:ext cx="6910965" cy="1823784"/>
        </p:xfrm>
        <a:graphic>
          <a:graphicData uri="http://schemas.openxmlformats.org/drawingml/2006/table">
            <a:tbl>
              <a:tblPr firstRow="1" bandRow="1">
                <a:tableStyleId>{5C22544A-7EE6-4342-B048-85BDC9FD1C3A}</a:tableStyleId>
              </a:tblPr>
              <a:tblGrid>
                <a:gridCol w="892971">
                  <a:extLst>
                    <a:ext uri="{9D8B030D-6E8A-4147-A177-3AD203B41FA5}">
                      <a16:colId xmlns:a16="http://schemas.microsoft.com/office/drawing/2014/main" val="4221487710"/>
                    </a:ext>
                  </a:extLst>
                </a:gridCol>
                <a:gridCol w="707710">
                  <a:extLst>
                    <a:ext uri="{9D8B030D-6E8A-4147-A177-3AD203B41FA5}">
                      <a16:colId xmlns:a16="http://schemas.microsoft.com/office/drawing/2014/main" val="1151914248"/>
                    </a:ext>
                  </a:extLst>
                </a:gridCol>
                <a:gridCol w="5310284">
                  <a:extLst>
                    <a:ext uri="{9D8B030D-6E8A-4147-A177-3AD203B41FA5}">
                      <a16:colId xmlns:a16="http://schemas.microsoft.com/office/drawing/2014/main" val="4187130120"/>
                    </a:ext>
                  </a:extLst>
                </a:gridCol>
              </a:tblGrid>
              <a:tr h="294672">
                <a:tc>
                  <a:txBody>
                    <a:bodyPr/>
                    <a:lstStyle/>
                    <a:p>
                      <a:r>
                        <a:rPr kumimoji="1" lang="ja-JP" altLang="en-US" sz="1050" b="1" dirty="0">
                          <a:solidFill>
                            <a:schemeClr val="tx1"/>
                          </a:solidFill>
                        </a:rPr>
                        <a:t>＜提出者＞</a:t>
                      </a: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団体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8631932"/>
                  </a:ext>
                </a:extLst>
              </a:tr>
              <a:tr h="294672">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所在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7743770"/>
                  </a:ext>
                </a:extLst>
              </a:tr>
              <a:tr h="326965">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代表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050" b="1" dirty="0">
                          <a:solidFill>
                            <a:schemeClr val="tx1"/>
                          </a:solidFill>
                        </a:rPr>
                        <a:t>（役職名）</a:t>
                      </a:r>
                      <a:endParaRPr kumimoji="1" lang="en-US" altLang="ja-JP" sz="1050" b="1" dirty="0">
                        <a:solidFill>
                          <a:schemeClr val="tx1"/>
                        </a:solidFill>
                      </a:endParaRPr>
                    </a:p>
                    <a:p>
                      <a:r>
                        <a:rPr kumimoji="1" lang="ja-JP" altLang="en-US" sz="1050" b="1" dirty="0">
                          <a:solidFill>
                            <a:schemeClr val="tx1"/>
                          </a:solidFill>
                        </a:rPr>
                        <a:t>（氏　名）</a:t>
                      </a:r>
                      <a:endParaRPr kumimoji="1" lang="en-US" altLang="ja-JP"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3080503"/>
                  </a:ext>
                </a:extLst>
              </a:tr>
              <a:tr h="326965">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担当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050" b="1" dirty="0">
                          <a:solidFill>
                            <a:schemeClr val="tx1"/>
                          </a:solidFill>
                        </a:rPr>
                        <a:t>（役職名）　　　　　　　　　</a:t>
                      </a:r>
                      <a:endParaRPr kumimoji="1" lang="en-US" altLang="ja-JP" sz="1050" b="1" dirty="0">
                        <a:solidFill>
                          <a:schemeClr val="tx1"/>
                        </a:solidFill>
                      </a:endParaRPr>
                    </a:p>
                    <a:p>
                      <a:r>
                        <a:rPr kumimoji="1" lang="ja-JP" altLang="en-US" sz="1050" b="1" dirty="0">
                          <a:solidFill>
                            <a:schemeClr val="tx1"/>
                          </a:solidFill>
                        </a:rPr>
                        <a:t>（氏　名）</a:t>
                      </a:r>
                      <a:endParaRPr kumimoji="1" lang="en-US" altLang="ja-JP"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1884924"/>
                  </a:ext>
                </a:extLst>
              </a:tr>
              <a:tr h="326965">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連絡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050" b="1" dirty="0">
                          <a:solidFill>
                            <a:schemeClr val="tx1"/>
                          </a:solidFill>
                        </a:rPr>
                        <a:t>（電話番号）</a:t>
                      </a:r>
                      <a:endParaRPr kumimoji="1" lang="en-US" altLang="ja-JP" sz="1050" b="1" dirty="0">
                        <a:solidFill>
                          <a:schemeClr val="tx1"/>
                        </a:solidFill>
                      </a:endParaRPr>
                    </a:p>
                    <a:p>
                      <a:r>
                        <a:rPr kumimoji="1" lang="ja-JP" altLang="en-US" sz="1050" b="1" dirty="0">
                          <a:solidFill>
                            <a:schemeClr val="tx1"/>
                          </a:solidFill>
                        </a:rPr>
                        <a:t>（電子メール）</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2648791"/>
                  </a:ext>
                </a:extLst>
              </a:tr>
            </a:tbl>
          </a:graphicData>
        </a:graphic>
      </p:graphicFrame>
    </p:spTree>
    <p:extLst>
      <p:ext uri="{BB962C8B-B14F-4D97-AF65-F5344CB8AC3E}">
        <p14:creationId xmlns:p14="http://schemas.microsoft.com/office/powerpoint/2010/main" val="1601412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436913-DDCD-4420-924B-DB039CFE5886}"/>
              </a:ext>
            </a:extLst>
          </p:cNvPr>
          <p:cNvSpPr>
            <a:spLocks noGrp="1"/>
          </p:cNvSpPr>
          <p:nvPr>
            <p:ph type="sldNum" sz="quarter" idx="11"/>
          </p:nvPr>
        </p:nvSpPr>
        <p:spPr/>
        <p:txBody>
          <a:bodyPr/>
          <a:lstStyle/>
          <a:p>
            <a:fld id="{AA5FCFE5-FE56-4EF1-80A8-07776887C2A1}" type="slidenum">
              <a:rPr lang="ja-JP" altLang="en-US" smtClean="0"/>
              <a:pPr/>
              <a:t>20</a:t>
            </a:fld>
            <a:endParaRPr lang="ja-JP" altLang="en-US"/>
          </a:p>
        </p:txBody>
      </p:sp>
      <p:sp>
        <p:nvSpPr>
          <p:cNvPr id="10" name="正方形/長方形 9">
            <a:extLst>
              <a:ext uri="{FF2B5EF4-FFF2-40B4-BE49-F238E27FC236}">
                <a16:creationId xmlns:a16="http://schemas.microsoft.com/office/drawing/2014/main" id="{A167B120-F446-089F-6A16-F87BA2782F32}"/>
              </a:ext>
            </a:extLst>
          </p:cNvPr>
          <p:cNvSpPr/>
          <p:nvPr/>
        </p:nvSpPr>
        <p:spPr bwMode="gray">
          <a:xfrm>
            <a:off x="219165" y="1020924"/>
            <a:ext cx="4716000" cy="216000"/>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マネタイズスキーム</a:t>
            </a:r>
          </a:p>
        </p:txBody>
      </p:sp>
      <p:sp>
        <p:nvSpPr>
          <p:cNvPr id="11" name="正方形/長方形 10">
            <a:extLst>
              <a:ext uri="{FF2B5EF4-FFF2-40B4-BE49-F238E27FC236}">
                <a16:creationId xmlns:a16="http://schemas.microsoft.com/office/drawing/2014/main" id="{E0851427-9D88-6C02-9B95-7DE53A5D94E0}"/>
              </a:ext>
            </a:extLst>
          </p:cNvPr>
          <p:cNvSpPr/>
          <p:nvPr/>
        </p:nvSpPr>
        <p:spPr bwMode="gray">
          <a:xfrm>
            <a:off x="219165" y="5491115"/>
            <a:ext cx="4716000" cy="992353"/>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050"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416CD0B9-0B62-35B1-3C69-862E7413E68A}"/>
              </a:ext>
            </a:extLst>
          </p:cNvPr>
          <p:cNvSpPr/>
          <p:nvPr/>
        </p:nvSpPr>
        <p:spPr bwMode="gray">
          <a:xfrm>
            <a:off x="5006792" y="3792699"/>
            <a:ext cx="4716000" cy="216000"/>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広域展開の可能性</a:t>
            </a:r>
          </a:p>
        </p:txBody>
      </p:sp>
      <p:sp>
        <p:nvSpPr>
          <p:cNvPr id="14" name="正方形/長方形 13">
            <a:extLst>
              <a:ext uri="{FF2B5EF4-FFF2-40B4-BE49-F238E27FC236}">
                <a16:creationId xmlns:a16="http://schemas.microsoft.com/office/drawing/2014/main" id="{F64D5ADE-0370-2B4F-C04D-9FD18A6FF88A}"/>
              </a:ext>
            </a:extLst>
          </p:cNvPr>
          <p:cNvSpPr/>
          <p:nvPr/>
        </p:nvSpPr>
        <p:spPr bwMode="gray">
          <a:xfrm>
            <a:off x="5006792" y="4048124"/>
            <a:ext cx="4716000" cy="2466976"/>
          </a:xfrm>
          <a:prstGeom prst="rect">
            <a:avLst/>
          </a:prstGeom>
          <a:solidFill>
            <a:srgbClr val="DCFBD5"/>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u"/>
            </a:pPr>
            <a:r>
              <a:rPr kumimoji="1" lang="ja-JP" altLang="en-US" sz="1050" b="1" u="sng" dirty="0">
                <a:solidFill>
                  <a:prstClr val="black"/>
                </a:solidFill>
              </a:rPr>
              <a:t>実証フィールド以外の本県下自治体や県内事業者等への広域展開の可能性・方向性を記載してください。</a:t>
            </a:r>
            <a:endParaRPr kumimoji="1" lang="en-US" altLang="ja-JP" sz="1050" b="1" u="sng" dirty="0">
              <a:solidFill>
                <a:prstClr val="black"/>
              </a:solidFill>
            </a:endParaRPr>
          </a:p>
          <a:p>
            <a:pPr defTabSz="990564" fontAlgn="auto">
              <a:spcBef>
                <a:spcPts val="0"/>
              </a:spcBef>
              <a:spcAft>
                <a:spcPts val="0"/>
              </a:spcAft>
              <a:buSzPct val="100000"/>
            </a:pPr>
            <a:endParaRPr kumimoji="1" lang="en-US" altLang="ja-JP" sz="1050" dirty="0">
              <a:solidFill>
                <a:prstClr val="black"/>
              </a:solidFill>
            </a:endParaRPr>
          </a:p>
          <a:p>
            <a:pPr marR="0" defTabSz="990564" rtl="0" eaLnBrk="1" fontAlgn="auto" latinLnBrk="0" hangingPunct="1">
              <a:lnSpc>
                <a:spcPct val="100000"/>
              </a:lnSpc>
              <a:spcBef>
                <a:spcPts val="0"/>
              </a:spcBef>
              <a:spcAft>
                <a:spcPts val="0"/>
              </a:spcAft>
              <a:buClrTx/>
              <a:buSzPct val="100000"/>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p:txBody>
      </p:sp>
      <p:sp>
        <p:nvSpPr>
          <p:cNvPr id="19" name="正方形/長方形 18">
            <a:extLst>
              <a:ext uri="{FF2B5EF4-FFF2-40B4-BE49-F238E27FC236}">
                <a16:creationId xmlns:a16="http://schemas.microsoft.com/office/drawing/2014/main" id="{24C7A1A0-76A0-4F4E-E8BD-E6F14D16693A}"/>
              </a:ext>
            </a:extLst>
          </p:cNvPr>
          <p:cNvSpPr/>
          <p:nvPr/>
        </p:nvSpPr>
        <p:spPr bwMode="gray">
          <a:xfrm>
            <a:off x="5006792" y="1020924"/>
            <a:ext cx="4716000" cy="216000"/>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装に向けて想定される課題</a:t>
            </a:r>
          </a:p>
        </p:txBody>
      </p:sp>
      <p:sp>
        <p:nvSpPr>
          <p:cNvPr id="20" name="テキスト ボックス 19">
            <a:extLst>
              <a:ext uri="{FF2B5EF4-FFF2-40B4-BE49-F238E27FC236}">
                <a16:creationId xmlns:a16="http://schemas.microsoft.com/office/drawing/2014/main" id="{5FBFBBEC-5664-765C-2CB7-3088E781719B}"/>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⑥</a:t>
            </a:r>
          </a:p>
        </p:txBody>
      </p:sp>
      <p:sp>
        <p:nvSpPr>
          <p:cNvPr id="4" name="正方形/長方形 3">
            <a:extLst>
              <a:ext uri="{FF2B5EF4-FFF2-40B4-BE49-F238E27FC236}">
                <a16:creationId xmlns:a16="http://schemas.microsoft.com/office/drawing/2014/main" id="{1913C7F2-1898-60CB-FFF4-A0DCF555AD53}"/>
              </a:ext>
            </a:extLst>
          </p:cNvPr>
          <p:cNvSpPr/>
          <p:nvPr/>
        </p:nvSpPr>
        <p:spPr bwMode="gray">
          <a:xfrm>
            <a:off x="5006792" y="1306787"/>
            <a:ext cx="4716000" cy="2320799"/>
          </a:xfrm>
          <a:prstGeom prst="rect">
            <a:avLst/>
          </a:prstGeom>
          <a:solidFill>
            <a:srgbClr val="DCFBD5"/>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u"/>
            </a:pPr>
            <a:r>
              <a:rPr kumimoji="1" lang="ja-JP" altLang="en-US" sz="1050" b="1" u="sng" dirty="0">
                <a:solidFill>
                  <a:prstClr val="black"/>
                </a:solidFill>
              </a:rPr>
              <a:t>実装にあたっての想定課題及び懸念事項について記載してください。</a:t>
            </a:r>
            <a:endParaRPr kumimoji="1" lang="en-US" altLang="ja-JP" sz="1050" b="1" u="sng" dirty="0">
              <a:solidFill>
                <a:prstClr val="black"/>
              </a:solidFill>
            </a:endParaRPr>
          </a:p>
          <a:p>
            <a:pPr defTabSz="990564" fontAlgn="auto">
              <a:spcBef>
                <a:spcPts val="0"/>
              </a:spcBef>
              <a:spcAft>
                <a:spcPts val="0"/>
              </a:spcAft>
              <a:buSzPct val="100000"/>
            </a:pPr>
            <a:endParaRPr kumimoji="1" lang="en-US" altLang="ja-JP" sz="105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u"/>
              <a:tabLst/>
            </a:pPr>
            <a:endParaRPr kumimoji="1" lang="en-US" altLang="ja-JP" sz="1050" b="1" u="sng" dirty="0">
              <a:solidFill>
                <a:prstClr val="black"/>
              </a:solidFill>
              <a:latin typeface="+mn-lt"/>
              <a:cs typeface="+mn-cs"/>
            </a:endParaRPr>
          </a:p>
        </p:txBody>
      </p:sp>
      <p:sp>
        <p:nvSpPr>
          <p:cNvPr id="7" name="正方形/長方形 6">
            <a:extLst>
              <a:ext uri="{FF2B5EF4-FFF2-40B4-BE49-F238E27FC236}">
                <a16:creationId xmlns:a16="http://schemas.microsoft.com/office/drawing/2014/main" id="{2A9B63EB-CDEA-894E-2F2A-7C721033FE55}"/>
              </a:ext>
            </a:extLst>
          </p:cNvPr>
          <p:cNvSpPr/>
          <p:nvPr/>
        </p:nvSpPr>
        <p:spPr bwMode="gray">
          <a:xfrm>
            <a:off x="219165" y="1306788"/>
            <a:ext cx="4706493" cy="2320798"/>
          </a:xfrm>
          <a:prstGeom prst="rect">
            <a:avLst/>
          </a:prstGeom>
          <a:solidFill>
            <a:schemeClr val="accent6">
              <a:lumMod val="20000"/>
              <a:lumOff val="80000"/>
            </a:schemeClr>
          </a:solidFill>
          <a:ln w="28575"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想定されるマネタイズスキームの図やイラスト等</a:t>
            </a:r>
          </a:p>
        </p:txBody>
      </p:sp>
      <p:sp>
        <p:nvSpPr>
          <p:cNvPr id="8" name="正方形/長方形 7">
            <a:extLst>
              <a:ext uri="{FF2B5EF4-FFF2-40B4-BE49-F238E27FC236}">
                <a16:creationId xmlns:a16="http://schemas.microsoft.com/office/drawing/2014/main" id="{32AF30E2-71D1-BFD6-FB85-A7BD8102DB25}"/>
              </a:ext>
            </a:extLst>
          </p:cNvPr>
          <p:cNvSpPr/>
          <p:nvPr/>
        </p:nvSpPr>
        <p:spPr bwMode="gray">
          <a:xfrm>
            <a:off x="209658" y="4048123"/>
            <a:ext cx="4716000" cy="992353"/>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050" dirty="0">
              <a:solidFill>
                <a:prstClr val="black"/>
              </a:solidFill>
              <a:latin typeface="+mn-lt"/>
              <a:cs typeface="+mn-cs"/>
            </a:endParaRPr>
          </a:p>
        </p:txBody>
      </p:sp>
      <p:sp>
        <p:nvSpPr>
          <p:cNvPr id="3" name="正方形/長方形 2">
            <a:extLst>
              <a:ext uri="{FF2B5EF4-FFF2-40B4-BE49-F238E27FC236}">
                <a16:creationId xmlns:a16="http://schemas.microsoft.com/office/drawing/2014/main" id="{89790912-3F41-A353-8EBD-71198A505A32}"/>
              </a:ext>
            </a:extLst>
          </p:cNvPr>
          <p:cNvSpPr/>
          <p:nvPr/>
        </p:nvSpPr>
        <p:spPr bwMode="gray">
          <a:xfrm>
            <a:off x="132711" y="576550"/>
            <a:ext cx="5600824"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defTabSz="990564" fontAlgn="auto">
              <a:spcBef>
                <a:spcPts val="0"/>
              </a:spcBef>
              <a:spcAft>
                <a:spcPts val="0"/>
              </a:spcAft>
              <a:buSzPct val="100000"/>
            </a:pPr>
            <a:r>
              <a:rPr kumimoji="1" lang="ja-JP" altLang="en-US" sz="1200" b="1" dirty="0">
                <a:latin typeface="+mj-ea"/>
                <a:ea typeface="+mj-ea"/>
                <a:cs typeface="+mn-cs"/>
              </a:rPr>
              <a:t>■</a:t>
            </a:r>
            <a:r>
              <a:rPr kumimoji="1" lang="ja-JP" altLang="en-US" sz="1200" b="1" dirty="0">
                <a:latin typeface="+mj-ea"/>
              </a:rPr>
              <a:t>持続的な取組及び実装に向けたマネタイズのアイデア及び自立化に向けた工夫</a:t>
            </a:r>
          </a:p>
        </p:txBody>
      </p:sp>
      <p:sp>
        <p:nvSpPr>
          <p:cNvPr id="5" name="正方形/長方形 4">
            <a:extLst>
              <a:ext uri="{FF2B5EF4-FFF2-40B4-BE49-F238E27FC236}">
                <a16:creationId xmlns:a16="http://schemas.microsoft.com/office/drawing/2014/main" id="{52DACE0D-FE7F-218B-CCBA-D107AD91A105}"/>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200"/>
              </a:lnSpc>
              <a:spcBef>
                <a:spcPts val="0"/>
              </a:spcBef>
              <a:spcAft>
                <a:spcPts val="0"/>
              </a:spcAft>
              <a:buSzPct val="100000"/>
            </a:pPr>
            <a:r>
              <a:rPr kumimoji="1" lang="en-US" altLang="ja-JP" sz="1050" dirty="0">
                <a:solidFill>
                  <a:srgbClr val="C00000"/>
                </a:solidFill>
                <a:latin typeface="+mn-ea"/>
                <a:cs typeface="+mn-cs"/>
              </a:rPr>
              <a:t>※</a:t>
            </a:r>
            <a:r>
              <a:rPr kumimoji="1" lang="ja-JP" altLang="en-US" sz="1050" dirty="0">
                <a:solidFill>
                  <a:srgbClr val="C00000"/>
                </a:solidFill>
                <a:latin typeface="+mn-ea"/>
                <a:cs typeface="+mn-cs"/>
              </a:rPr>
              <a:t>適宜レイアウトを調整し、</a:t>
            </a:r>
            <a:r>
              <a:rPr kumimoji="1" lang="en-US" altLang="ja-JP" sz="1050" dirty="0">
                <a:solidFill>
                  <a:srgbClr val="C00000"/>
                </a:solidFill>
                <a:latin typeface="+mn-ea"/>
              </a:rPr>
              <a:t>1</a:t>
            </a:r>
            <a:r>
              <a:rPr kumimoji="1" lang="ja-JP" altLang="en-US" sz="1050" dirty="0">
                <a:solidFill>
                  <a:srgbClr val="C00000"/>
                </a:solidFill>
                <a:latin typeface="+mn-ea"/>
              </a:rPr>
              <a:t>枚に収まるようにご記載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
        <p:nvSpPr>
          <p:cNvPr id="6" name="正方形/長方形 5">
            <a:extLst>
              <a:ext uri="{FF2B5EF4-FFF2-40B4-BE49-F238E27FC236}">
                <a16:creationId xmlns:a16="http://schemas.microsoft.com/office/drawing/2014/main" id="{B092AC85-8296-A8B1-3D51-C9812F874C91}"/>
              </a:ext>
            </a:extLst>
          </p:cNvPr>
          <p:cNvSpPr/>
          <p:nvPr/>
        </p:nvSpPr>
        <p:spPr bwMode="gray">
          <a:xfrm>
            <a:off x="219165" y="3792699"/>
            <a:ext cx="4716000" cy="216000"/>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上記図に関する説明</a:t>
            </a:r>
          </a:p>
        </p:txBody>
      </p:sp>
      <p:sp>
        <p:nvSpPr>
          <p:cNvPr id="9" name="正方形/長方形 8">
            <a:extLst>
              <a:ext uri="{FF2B5EF4-FFF2-40B4-BE49-F238E27FC236}">
                <a16:creationId xmlns:a16="http://schemas.microsoft.com/office/drawing/2014/main" id="{CCA04B72-C7F5-4299-44BE-FFC1D5CFF199}"/>
              </a:ext>
            </a:extLst>
          </p:cNvPr>
          <p:cNvSpPr/>
          <p:nvPr/>
        </p:nvSpPr>
        <p:spPr bwMode="gray">
          <a:xfrm>
            <a:off x="209658" y="5108792"/>
            <a:ext cx="4716000" cy="352107"/>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rPr>
              <a:t>持続的な取組とするためのマネタイズスキームの工夫や</a:t>
            </a:r>
            <a:endParaRPr kumimoji="1" lang="en-US" altLang="ja-JP" sz="1200" dirty="0">
              <a:solidFill>
                <a:schemeClr val="bg1"/>
              </a:solidFill>
            </a:endParaRPr>
          </a:p>
          <a:p>
            <a:pPr algn="ctr" defTabSz="990564" fontAlgn="auto">
              <a:spcBef>
                <a:spcPts val="0"/>
              </a:spcBef>
              <a:spcAft>
                <a:spcPts val="0"/>
              </a:spcAft>
              <a:buSzPct val="100000"/>
            </a:pPr>
            <a:r>
              <a:rPr kumimoji="1" lang="ja-JP" altLang="en-US" sz="1200" dirty="0">
                <a:solidFill>
                  <a:schemeClr val="bg1"/>
                </a:solidFill>
              </a:rPr>
              <a:t>事業費低減・自立化に向けた工夫</a:t>
            </a:r>
            <a:endParaRPr kumimoji="1" lang="ja-JP" altLang="en-US" sz="1200" i="0"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7311737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436913-DDCD-4420-924B-DB039CFE5886}"/>
              </a:ext>
            </a:extLst>
          </p:cNvPr>
          <p:cNvSpPr>
            <a:spLocks noGrp="1"/>
          </p:cNvSpPr>
          <p:nvPr>
            <p:ph type="sldNum" sz="quarter" idx="11"/>
          </p:nvPr>
        </p:nvSpPr>
        <p:spPr/>
        <p:txBody>
          <a:bodyPr/>
          <a:lstStyle/>
          <a:p>
            <a:fld id="{AA5FCFE5-FE56-4EF1-80A8-07776887C2A1}" type="slidenum">
              <a:rPr lang="ja-JP" altLang="en-US" smtClean="0"/>
              <a:pPr/>
              <a:t>21</a:t>
            </a:fld>
            <a:endParaRPr lang="ja-JP" altLang="en-US"/>
          </a:p>
        </p:txBody>
      </p:sp>
      <p:sp>
        <p:nvSpPr>
          <p:cNvPr id="13" name="正方形/長方形 12">
            <a:extLst>
              <a:ext uri="{FF2B5EF4-FFF2-40B4-BE49-F238E27FC236}">
                <a16:creationId xmlns:a16="http://schemas.microsoft.com/office/drawing/2014/main" id="{A597B051-4AF2-80C8-0AFC-78E5AFF348A2}"/>
              </a:ext>
            </a:extLst>
          </p:cNvPr>
          <p:cNvSpPr/>
          <p:nvPr/>
        </p:nvSpPr>
        <p:spPr bwMode="gray">
          <a:xfrm>
            <a:off x="153988" y="672727"/>
            <a:ext cx="3220087"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defTabSz="990564" fontAlgn="auto">
              <a:spcBef>
                <a:spcPts val="0"/>
              </a:spcBef>
              <a:spcAft>
                <a:spcPts val="0"/>
              </a:spcAft>
              <a:buSzPct val="100000"/>
            </a:pPr>
            <a:r>
              <a:rPr kumimoji="1" lang="ja-JP" altLang="en-US" sz="1200" b="1" dirty="0">
                <a:latin typeface="+mj-ea"/>
                <a:ea typeface="+mj-ea"/>
                <a:cs typeface="+mn-cs"/>
              </a:rPr>
              <a:t>■</a:t>
            </a:r>
            <a:r>
              <a:rPr kumimoji="1" lang="ja-JP" altLang="en-US" sz="1200" b="1" dirty="0">
                <a:latin typeface="+mj-ea"/>
              </a:rPr>
              <a:t>実装を見据えたスケジュール</a:t>
            </a:r>
            <a:endParaRPr kumimoji="1" lang="en-US" altLang="ja-JP" sz="1200" b="1" dirty="0">
              <a:latin typeface="+mj-ea"/>
              <a:ea typeface="+mj-ea"/>
              <a:cs typeface="+mn-cs"/>
            </a:endParaRPr>
          </a:p>
        </p:txBody>
      </p:sp>
      <p:graphicFrame>
        <p:nvGraphicFramePr>
          <p:cNvPr id="18" name="表 17">
            <a:extLst>
              <a:ext uri="{FF2B5EF4-FFF2-40B4-BE49-F238E27FC236}">
                <a16:creationId xmlns:a16="http://schemas.microsoft.com/office/drawing/2014/main" id="{47DB6B21-6B7C-BB47-B8F7-E98FD33B05D0}"/>
              </a:ext>
            </a:extLst>
          </p:cNvPr>
          <p:cNvGraphicFramePr>
            <a:graphicFrameLocks noGrp="1"/>
          </p:cNvGraphicFramePr>
          <p:nvPr>
            <p:extLst>
              <p:ext uri="{D42A27DB-BD31-4B8C-83A1-F6EECF244321}">
                <p14:modId xmlns:p14="http://schemas.microsoft.com/office/powerpoint/2010/main" val="1020401391"/>
              </p:ext>
            </p:extLst>
          </p:nvPr>
        </p:nvGraphicFramePr>
        <p:xfrm>
          <a:off x="1720201" y="1034623"/>
          <a:ext cx="7902276" cy="487680"/>
        </p:xfrm>
        <a:graphic>
          <a:graphicData uri="http://schemas.openxmlformats.org/drawingml/2006/table">
            <a:tbl>
              <a:tblPr firstRow="1" bandRow="1">
                <a:tableStyleId>{073A0DAA-6AF3-43AB-8588-CEC1D06C72B9}</a:tableStyleId>
              </a:tblPr>
              <a:tblGrid>
                <a:gridCol w="658523">
                  <a:extLst>
                    <a:ext uri="{9D8B030D-6E8A-4147-A177-3AD203B41FA5}">
                      <a16:colId xmlns:a16="http://schemas.microsoft.com/office/drawing/2014/main" val="1279828408"/>
                    </a:ext>
                  </a:extLst>
                </a:gridCol>
                <a:gridCol w="658523">
                  <a:extLst>
                    <a:ext uri="{9D8B030D-6E8A-4147-A177-3AD203B41FA5}">
                      <a16:colId xmlns:a16="http://schemas.microsoft.com/office/drawing/2014/main" val="1096387884"/>
                    </a:ext>
                  </a:extLst>
                </a:gridCol>
                <a:gridCol w="658523">
                  <a:extLst>
                    <a:ext uri="{9D8B030D-6E8A-4147-A177-3AD203B41FA5}">
                      <a16:colId xmlns:a16="http://schemas.microsoft.com/office/drawing/2014/main" val="937096245"/>
                    </a:ext>
                  </a:extLst>
                </a:gridCol>
                <a:gridCol w="658523">
                  <a:extLst>
                    <a:ext uri="{9D8B030D-6E8A-4147-A177-3AD203B41FA5}">
                      <a16:colId xmlns:a16="http://schemas.microsoft.com/office/drawing/2014/main" val="2979925392"/>
                    </a:ext>
                  </a:extLst>
                </a:gridCol>
                <a:gridCol w="658523">
                  <a:extLst>
                    <a:ext uri="{9D8B030D-6E8A-4147-A177-3AD203B41FA5}">
                      <a16:colId xmlns:a16="http://schemas.microsoft.com/office/drawing/2014/main" val="4251857446"/>
                    </a:ext>
                  </a:extLst>
                </a:gridCol>
                <a:gridCol w="658523">
                  <a:extLst>
                    <a:ext uri="{9D8B030D-6E8A-4147-A177-3AD203B41FA5}">
                      <a16:colId xmlns:a16="http://schemas.microsoft.com/office/drawing/2014/main" val="3062251658"/>
                    </a:ext>
                  </a:extLst>
                </a:gridCol>
                <a:gridCol w="658523">
                  <a:extLst>
                    <a:ext uri="{9D8B030D-6E8A-4147-A177-3AD203B41FA5}">
                      <a16:colId xmlns:a16="http://schemas.microsoft.com/office/drawing/2014/main" val="2231374747"/>
                    </a:ext>
                  </a:extLst>
                </a:gridCol>
                <a:gridCol w="658523">
                  <a:extLst>
                    <a:ext uri="{9D8B030D-6E8A-4147-A177-3AD203B41FA5}">
                      <a16:colId xmlns:a16="http://schemas.microsoft.com/office/drawing/2014/main" val="1970313242"/>
                    </a:ext>
                  </a:extLst>
                </a:gridCol>
                <a:gridCol w="658523">
                  <a:extLst>
                    <a:ext uri="{9D8B030D-6E8A-4147-A177-3AD203B41FA5}">
                      <a16:colId xmlns:a16="http://schemas.microsoft.com/office/drawing/2014/main" val="241791758"/>
                    </a:ext>
                  </a:extLst>
                </a:gridCol>
                <a:gridCol w="658523">
                  <a:extLst>
                    <a:ext uri="{9D8B030D-6E8A-4147-A177-3AD203B41FA5}">
                      <a16:colId xmlns:a16="http://schemas.microsoft.com/office/drawing/2014/main" val="3199402638"/>
                    </a:ext>
                  </a:extLst>
                </a:gridCol>
                <a:gridCol w="658523">
                  <a:extLst>
                    <a:ext uri="{9D8B030D-6E8A-4147-A177-3AD203B41FA5}">
                      <a16:colId xmlns:a16="http://schemas.microsoft.com/office/drawing/2014/main" val="3944279037"/>
                    </a:ext>
                  </a:extLst>
                </a:gridCol>
                <a:gridCol w="658523">
                  <a:extLst>
                    <a:ext uri="{9D8B030D-6E8A-4147-A177-3AD203B41FA5}">
                      <a16:colId xmlns:a16="http://schemas.microsoft.com/office/drawing/2014/main" val="3265446030"/>
                    </a:ext>
                  </a:extLst>
                </a:gridCol>
              </a:tblGrid>
              <a:tr h="216000">
                <a:tc gridSpan="9">
                  <a:txBody>
                    <a:bodyPr/>
                    <a:lstStyle/>
                    <a:p>
                      <a:pPr algn="ctr">
                        <a:lnSpc>
                          <a:spcPts val="1200"/>
                        </a:lnSpc>
                      </a:pPr>
                      <a:r>
                        <a:rPr kumimoji="1" lang="ja-JP" altLang="en-US" sz="1000" dirty="0"/>
                        <a:t>令和９年（</a:t>
                      </a:r>
                      <a:r>
                        <a:rPr kumimoji="1" lang="en-US" altLang="ja-JP" sz="1000" dirty="0"/>
                        <a:t>2027</a:t>
                      </a:r>
                      <a:r>
                        <a:rPr kumimoji="1" lang="ja-JP" altLang="en-US" sz="1000" dirty="0"/>
                        <a:t>年）</a:t>
                      </a:r>
                    </a:p>
                  </a:txBody>
                  <a:tcPr anchor="ctr">
                    <a:solidFill>
                      <a:schemeClr val="tx2"/>
                    </a:solidFill>
                  </a:tcP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gridSpan="3">
                  <a:txBody>
                    <a:bodyPr/>
                    <a:lstStyle/>
                    <a:p>
                      <a:pPr algn="ctr">
                        <a:lnSpc>
                          <a:spcPts val="1200"/>
                        </a:lnSpc>
                      </a:pPr>
                      <a:r>
                        <a:rPr kumimoji="1" lang="ja-JP" altLang="en-US" sz="1000" dirty="0"/>
                        <a:t>令和</a:t>
                      </a:r>
                      <a:r>
                        <a:rPr kumimoji="1" lang="en-US" altLang="ja-JP" sz="1000" dirty="0"/>
                        <a:t>10</a:t>
                      </a:r>
                      <a:r>
                        <a:rPr kumimoji="1" lang="ja-JP" altLang="en-US" sz="1000" dirty="0"/>
                        <a:t>年（</a:t>
                      </a:r>
                      <a:r>
                        <a:rPr kumimoji="1" lang="en-US" altLang="ja-JP" sz="1000" dirty="0"/>
                        <a:t>2028</a:t>
                      </a:r>
                      <a:r>
                        <a:rPr kumimoji="1" lang="ja-JP" altLang="en-US" sz="1000" dirty="0"/>
                        <a:t>年）</a:t>
                      </a:r>
                    </a:p>
                  </a:txBody>
                  <a:tcPr anchor="ctr">
                    <a:solidFill>
                      <a:schemeClr val="tx2"/>
                    </a:solidFill>
                  </a:tcP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extLst>
                  <a:ext uri="{0D108BD9-81ED-4DB2-BD59-A6C34878D82A}">
                    <a16:rowId xmlns:a16="http://schemas.microsoft.com/office/drawing/2014/main" val="2309090938"/>
                  </a:ext>
                </a:extLst>
              </a:tr>
              <a:tr h="216000">
                <a:tc>
                  <a:txBody>
                    <a:bodyPr/>
                    <a:lstStyle/>
                    <a:p>
                      <a:pPr algn="ctr">
                        <a:lnSpc>
                          <a:spcPts val="1200"/>
                        </a:lnSpc>
                      </a:pPr>
                      <a:r>
                        <a:rPr kumimoji="1" lang="en-US" altLang="ja-JP" sz="1000"/>
                        <a:t>4</a:t>
                      </a:r>
                      <a:r>
                        <a:rPr kumimoji="1" lang="ja-JP" altLang="en-US" sz="1000"/>
                        <a:t>月</a:t>
                      </a:r>
                    </a:p>
                  </a:txBody>
                  <a:tcPr anchor="ctr"/>
                </a:tc>
                <a:tc>
                  <a:txBody>
                    <a:bodyPr/>
                    <a:lstStyle/>
                    <a:p>
                      <a:pPr algn="ctr">
                        <a:lnSpc>
                          <a:spcPts val="1200"/>
                        </a:lnSpc>
                      </a:pPr>
                      <a:r>
                        <a:rPr kumimoji="1" lang="en-US" altLang="ja-JP" sz="1000"/>
                        <a:t>5</a:t>
                      </a:r>
                      <a:r>
                        <a:rPr kumimoji="1" lang="ja-JP" altLang="en-US" sz="1000"/>
                        <a:t>月</a:t>
                      </a:r>
                    </a:p>
                  </a:txBody>
                  <a:tcPr anchor="ctr"/>
                </a:tc>
                <a:tc>
                  <a:txBody>
                    <a:bodyPr/>
                    <a:lstStyle/>
                    <a:p>
                      <a:pPr algn="ctr">
                        <a:lnSpc>
                          <a:spcPts val="1200"/>
                        </a:lnSpc>
                      </a:pPr>
                      <a:r>
                        <a:rPr kumimoji="1" lang="en-US" altLang="ja-JP" sz="1000"/>
                        <a:t>6</a:t>
                      </a:r>
                      <a:r>
                        <a:rPr kumimoji="1" lang="ja-JP" altLang="en-US" sz="1000"/>
                        <a:t>月</a:t>
                      </a:r>
                    </a:p>
                  </a:txBody>
                  <a:tcPr anchor="ctr"/>
                </a:tc>
                <a:tc>
                  <a:txBody>
                    <a:bodyPr/>
                    <a:lstStyle/>
                    <a:p>
                      <a:pPr algn="ctr">
                        <a:lnSpc>
                          <a:spcPts val="1200"/>
                        </a:lnSpc>
                      </a:pPr>
                      <a:r>
                        <a:rPr kumimoji="1" lang="en-US" altLang="ja-JP" sz="1000"/>
                        <a:t>7</a:t>
                      </a:r>
                      <a:r>
                        <a:rPr kumimoji="1" lang="ja-JP" altLang="en-US" sz="1000"/>
                        <a:t>月</a:t>
                      </a:r>
                    </a:p>
                  </a:txBody>
                  <a:tcPr anchor="ctr"/>
                </a:tc>
                <a:tc>
                  <a:txBody>
                    <a:bodyPr/>
                    <a:lstStyle/>
                    <a:p>
                      <a:pPr algn="ctr">
                        <a:lnSpc>
                          <a:spcPts val="1200"/>
                        </a:lnSpc>
                      </a:pPr>
                      <a:r>
                        <a:rPr kumimoji="1" lang="en-US" altLang="ja-JP" sz="1000"/>
                        <a:t>8</a:t>
                      </a:r>
                      <a:r>
                        <a:rPr kumimoji="1" lang="ja-JP" altLang="en-US" sz="1000"/>
                        <a:t>月</a:t>
                      </a:r>
                    </a:p>
                  </a:txBody>
                  <a:tcPr anchor="ctr"/>
                </a:tc>
                <a:tc>
                  <a:txBody>
                    <a:bodyPr/>
                    <a:lstStyle/>
                    <a:p>
                      <a:pPr algn="ctr">
                        <a:lnSpc>
                          <a:spcPts val="1200"/>
                        </a:lnSpc>
                      </a:pPr>
                      <a:r>
                        <a:rPr kumimoji="1" lang="en-US" altLang="ja-JP" sz="1000" dirty="0"/>
                        <a:t>9</a:t>
                      </a:r>
                      <a:r>
                        <a:rPr kumimoji="1" lang="ja-JP" altLang="en-US" sz="1000" dirty="0"/>
                        <a:t>月</a:t>
                      </a:r>
                    </a:p>
                  </a:txBody>
                  <a:tcPr anchor="ctr"/>
                </a:tc>
                <a:tc>
                  <a:txBody>
                    <a:bodyPr/>
                    <a:lstStyle/>
                    <a:p>
                      <a:pPr algn="ctr">
                        <a:lnSpc>
                          <a:spcPts val="1200"/>
                        </a:lnSpc>
                      </a:pPr>
                      <a:r>
                        <a:rPr kumimoji="1" lang="en-US" altLang="ja-JP" sz="1000" dirty="0"/>
                        <a:t>10</a:t>
                      </a:r>
                      <a:r>
                        <a:rPr kumimoji="1" lang="ja-JP" altLang="en-US" sz="1000" dirty="0"/>
                        <a:t>月</a:t>
                      </a:r>
                    </a:p>
                  </a:txBody>
                  <a:tcPr anchor="ctr"/>
                </a:tc>
                <a:tc>
                  <a:txBody>
                    <a:bodyPr/>
                    <a:lstStyle/>
                    <a:p>
                      <a:pPr algn="ctr">
                        <a:lnSpc>
                          <a:spcPts val="1200"/>
                        </a:lnSpc>
                      </a:pPr>
                      <a:r>
                        <a:rPr kumimoji="1" lang="en-US" altLang="ja-JP" sz="1000" dirty="0"/>
                        <a:t>11</a:t>
                      </a:r>
                      <a:r>
                        <a:rPr kumimoji="1" lang="ja-JP" altLang="en-US" sz="1000" dirty="0"/>
                        <a:t>月</a:t>
                      </a:r>
                    </a:p>
                  </a:txBody>
                  <a:tcPr anchor="ctr"/>
                </a:tc>
                <a:tc>
                  <a:txBody>
                    <a:bodyPr/>
                    <a:lstStyle/>
                    <a:p>
                      <a:pPr algn="ctr">
                        <a:lnSpc>
                          <a:spcPts val="1200"/>
                        </a:lnSpc>
                      </a:pPr>
                      <a:r>
                        <a:rPr kumimoji="1" lang="en-US" altLang="ja-JP" sz="1000"/>
                        <a:t>12</a:t>
                      </a:r>
                      <a:r>
                        <a:rPr kumimoji="1" lang="ja-JP" altLang="en-US" sz="1000"/>
                        <a:t>月</a:t>
                      </a:r>
                    </a:p>
                  </a:txBody>
                  <a:tcPr anchor="ctr"/>
                </a:tc>
                <a:tc>
                  <a:txBody>
                    <a:bodyPr/>
                    <a:lstStyle/>
                    <a:p>
                      <a:pPr algn="ctr">
                        <a:lnSpc>
                          <a:spcPts val="1200"/>
                        </a:lnSpc>
                      </a:pPr>
                      <a:r>
                        <a:rPr kumimoji="1" lang="en-US" altLang="ja-JP" sz="1000"/>
                        <a:t>1</a:t>
                      </a:r>
                      <a:r>
                        <a:rPr kumimoji="1" lang="ja-JP" altLang="en-US" sz="1000"/>
                        <a:t>月</a:t>
                      </a:r>
                    </a:p>
                  </a:txBody>
                  <a:tcPr anchor="ctr"/>
                </a:tc>
                <a:tc>
                  <a:txBody>
                    <a:bodyPr/>
                    <a:lstStyle/>
                    <a:p>
                      <a:pPr algn="ctr">
                        <a:lnSpc>
                          <a:spcPts val="1200"/>
                        </a:lnSpc>
                      </a:pPr>
                      <a:r>
                        <a:rPr kumimoji="1" lang="en-US" altLang="ja-JP" sz="1000"/>
                        <a:t>2</a:t>
                      </a:r>
                      <a:r>
                        <a:rPr kumimoji="1" lang="ja-JP" altLang="en-US" sz="1000"/>
                        <a:t>月</a:t>
                      </a:r>
                    </a:p>
                  </a:txBody>
                  <a:tcPr anchor="ctr"/>
                </a:tc>
                <a:tc>
                  <a:txBody>
                    <a:bodyPr/>
                    <a:lstStyle/>
                    <a:p>
                      <a:pPr algn="ctr">
                        <a:lnSpc>
                          <a:spcPts val="1200"/>
                        </a:lnSpc>
                      </a:pPr>
                      <a:r>
                        <a:rPr kumimoji="1" lang="en-US" altLang="ja-JP" sz="1000" dirty="0"/>
                        <a:t>3</a:t>
                      </a:r>
                      <a:r>
                        <a:rPr kumimoji="1" lang="ja-JP" altLang="en-US" sz="1000" dirty="0"/>
                        <a:t>月</a:t>
                      </a:r>
                    </a:p>
                  </a:txBody>
                  <a:tcPr anchor="ctr"/>
                </a:tc>
                <a:extLst>
                  <a:ext uri="{0D108BD9-81ED-4DB2-BD59-A6C34878D82A}">
                    <a16:rowId xmlns:a16="http://schemas.microsoft.com/office/drawing/2014/main" val="3205325247"/>
                  </a:ext>
                </a:extLst>
              </a:tr>
            </a:tbl>
          </a:graphicData>
        </a:graphic>
      </p:graphicFrame>
      <p:sp>
        <p:nvSpPr>
          <p:cNvPr id="20" name="正方形/長方形 19">
            <a:extLst>
              <a:ext uri="{FF2B5EF4-FFF2-40B4-BE49-F238E27FC236}">
                <a16:creationId xmlns:a16="http://schemas.microsoft.com/office/drawing/2014/main" id="{42253785-24AC-76F9-EA24-0B4216571BB9}"/>
              </a:ext>
            </a:extLst>
          </p:cNvPr>
          <p:cNvSpPr/>
          <p:nvPr/>
        </p:nvSpPr>
        <p:spPr bwMode="gray">
          <a:xfrm>
            <a:off x="1745301" y="1572552"/>
            <a:ext cx="7867650" cy="1440000"/>
          </a:xfrm>
          <a:prstGeom prst="rect">
            <a:avLst/>
          </a:prstGeom>
          <a:solidFill>
            <a:srgbClr val="D9F3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u="sng" dirty="0"/>
              <a:t>関係者との調整・実証実施を行う上で実現可能なスケジュールを記載すること。</a:t>
            </a:r>
            <a:endParaRPr kumimoji="1" lang="en-US" altLang="ja-JP" sz="1200" b="1" u="sng" dirty="0"/>
          </a:p>
          <a:p>
            <a:pPr algn="ctr" defTabSz="990564" fontAlgn="auto">
              <a:spcBef>
                <a:spcPts val="0"/>
              </a:spcBef>
              <a:spcAft>
                <a:spcPts val="0"/>
              </a:spcAft>
              <a:buSzPct val="100000"/>
            </a:pPr>
            <a:r>
              <a:rPr kumimoji="1" lang="ja-JP" altLang="en-US" sz="1200" b="1" u="sng" dirty="0"/>
              <a:t>取組内容が分かるように適宜工夫いただき作成ください。</a:t>
            </a:r>
            <a:endParaRPr kumimoji="1" lang="en-US" altLang="ja-JP" sz="1200" b="1" u="sng" dirty="0"/>
          </a:p>
        </p:txBody>
      </p:sp>
      <p:grpSp>
        <p:nvGrpSpPr>
          <p:cNvPr id="22" name="グループ化 21">
            <a:extLst>
              <a:ext uri="{FF2B5EF4-FFF2-40B4-BE49-F238E27FC236}">
                <a16:creationId xmlns:a16="http://schemas.microsoft.com/office/drawing/2014/main" id="{FB5456F1-A9D9-7C6C-CED1-B67176FC9B68}"/>
              </a:ext>
            </a:extLst>
          </p:cNvPr>
          <p:cNvGrpSpPr/>
          <p:nvPr/>
        </p:nvGrpSpPr>
        <p:grpSpPr>
          <a:xfrm>
            <a:off x="259045" y="1575163"/>
            <a:ext cx="1440000" cy="1427126"/>
            <a:chOff x="313969" y="1669486"/>
            <a:chExt cx="1440000" cy="1427126"/>
          </a:xfrm>
        </p:grpSpPr>
        <p:sp>
          <p:nvSpPr>
            <p:cNvPr id="23" name="四角形: 角を丸くする 22">
              <a:extLst>
                <a:ext uri="{FF2B5EF4-FFF2-40B4-BE49-F238E27FC236}">
                  <a16:creationId xmlns:a16="http://schemas.microsoft.com/office/drawing/2014/main" id="{031BF376-1464-54CF-9FED-21DCCFDC852E}"/>
                </a:ext>
              </a:extLst>
            </p:cNvPr>
            <p:cNvSpPr/>
            <p:nvPr/>
          </p:nvSpPr>
          <p:spPr>
            <a:xfrm>
              <a:off x="313969" y="1669486"/>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①</a:t>
              </a:r>
            </a:p>
          </p:txBody>
        </p:sp>
        <p:sp>
          <p:nvSpPr>
            <p:cNvPr id="24" name="四角形: 角を丸くする 23">
              <a:extLst>
                <a:ext uri="{FF2B5EF4-FFF2-40B4-BE49-F238E27FC236}">
                  <a16:creationId xmlns:a16="http://schemas.microsoft.com/office/drawing/2014/main" id="{7FE2C231-67BB-0576-30E4-D8EA047BA267}"/>
                </a:ext>
              </a:extLst>
            </p:cNvPr>
            <p:cNvSpPr/>
            <p:nvPr/>
          </p:nvSpPr>
          <p:spPr>
            <a:xfrm>
              <a:off x="313969" y="1852155"/>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②</a:t>
              </a:r>
            </a:p>
          </p:txBody>
        </p:sp>
        <p:sp>
          <p:nvSpPr>
            <p:cNvPr id="25" name="四角形: 角を丸くする 24">
              <a:extLst>
                <a:ext uri="{FF2B5EF4-FFF2-40B4-BE49-F238E27FC236}">
                  <a16:creationId xmlns:a16="http://schemas.microsoft.com/office/drawing/2014/main" id="{CA7C90F7-09BD-B065-6D7E-F87C34D789D9}"/>
                </a:ext>
              </a:extLst>
            </p:cNvPr>
            <p:cNvSpPr/>
            <p:nvPr/>
          </p:nvSpPr>
          <p:spPr>
            <a:xfrm>
              <a:off x="313969" y="2034824"/>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③</a:t>
              </a:r>
            </a:p>
          </p:txBody>
        </p:sp>
        <p:sp>
          <p:nvSpPr>
            <p:cNvPr id="26" name="四角形: 角を丸くする 25">
              <a:extLst>
                <a:ext uri="{FF2B5EF4-FFF2-40B4-BE49-F238E27FC236}">
                  <a16:creationId xmlns:a16="http://schemas.microsoft.com/office/drawing/2014/main" id="{81145AF6-CAB9-D1BC-9605-4CA01F349A30}"/>
                </a:ext>
              </a:extLst>
            </p:cNvPr>
            <p:cNvSpPr/>
            <p:nvPr/>
          </p:nvSpPr>
          <p:spPr>
            <a:xfrm>
              <a:off x="313969" y="2217493"/>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④</a:t>
              </a:r>
            </a:p>
          </p:txBody>
        </p:sp>
        <p:sp>
          <p:nvSpPr>
            <p:cNvPr id="27" name="四角形: 角を丸くする 26">
              <a:extLst>
                <a:ext uri="{FF2B5EF4-FFF2-40B4-BE49-F238E27FC236}">
                  <a16:creationId xmlns:a16="http://schemas.microsoft.com/office/drawing/2014/main" id="{6933D417-C4E0-514D-189C-90014BEC4AAC}"/>
                </a:ext>
              </a:extLst>
            </p:cNvPr>
            <p:cNvSpPr/>
            <p:nvPr/>
          </p:nvSpPr>
          <p:spPr>
            <a:xfrm>
              <a:off x="313969" y="2400162"/>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⑤</a:t>
              </a:r>
            </a:p>
          </p:txBody>
        </p:sp>
        <p:sp>
          <p:nvSpPr>
            <p:cNvPr id="39" name="四角形: 角を丸くする 38">
              <a:extLst>
                <a:ext uri="{FF2B5EF4-FFF2-40B4-BE49-F238E27FC236}">
                  <a16:creationId xmlns:a16="http://schemas.microsoft.com/office/drawing/2014/main" id="{FC91522E-FA7A-6F4F-F61B-F4D293519107}"/>
                </a:ext>
              </a:extLst>
            </p:cNvPr>
            <p:cNvSpPr/>
            <p:nvPr/>
          </p:nvSpPr>
          <p:spPr>
            <a:xfrm>
              <a:off x="313969" y="2587274"/>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a:t>
              </a:r>
              <a:r>
                <a:rPr kumimoji="1" lang="ja-JP" altLang="en-US" sz="1000" b="1" kern="0" dirty="0">
                  <a:solidFill>
                    <a:prstClr val="white"/>
                  </a:solidFill>
                  <a:latin typeface="+mn-ea"/>
                  <a:cs typeface="+mn-cs"/>
                </a:rPr>
                <a:t>⑥</a:t>
              </a:r>
              <a:endParaRPr kumimoji="1" lang="ja-JP" altLang="en-US" sz="1000" b="1" i="0" u="none" strike="noStrike" kern="0" cap="none" spc="0" normalizeH="0" baseline="0" noProof="0" dirty="0">
                <a:ln>
                  <a:noFill/>
                </a:ln>
                <a:solidFill>
                  <a:prstClr val="white"/>
                </a:solidFill>
                <a:effectLst/>
                <a:uLnTx/>
                <a:uFillTx/>
                <a:latin typeface="+mn-ea"/>
                <a:cs typeface="+mn-cs"/>
              </a:endParaRPr>
            </a:p>
          </p:txBody>
        </p:sp>
        <p:sp>
          <p:nvSpPr>
            <p:cNvPr id="40" name="四角形: 角を丸くする 39">
              <a:extLst>
                <a:ext uri="{FF2B5EF4-FFF2-40B4-BE49-F238E27FC236}">
                  <a16:creationId xmlns:a16="http://schemas.microsoft.com/office/drawing/2014/main" id="{EEE7070F-99DB-416C-A3C7-629014FF49CB}"/>
                </a:ext>
              </a:extLst>
            </p:cNvPr>
            <p:cNvSpPr/>
            <p:nvPr/>
          </p:nvSpPr>
          <p:spPr>
            <a:xfrm>
              <a:off x="313969" y="2769943"/>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⑦</a:t>
              </a:r>
            </a:p>
          </p:txBody>
        </p:sp>
        <p:sp>
          <p:nvSpPr>
            <p:cNvPr id="41" name="四角形: 角を丸くする 40">
              <a:extLst>
                <a:ext uri="{FF2B5EF4-FFF2-40B4-BE49-F238E27FC236}">
                  <a16:creationId xmlns:a16="http://schemas.microsoft.com/office/drawing/2014/main" id="{A4540B49-FC01-0E20-21CE-3B9F70544636}"/>
                </a:ext>
              </a:extLst>
            </p:cNvPr>
            <p:cNvSpPr/>
            <p:nvPr/>
          </p:nvSpPr>
          <p:spPr>
            <a:xfrm>
              <a:off x="313969" y="2952612"/>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⑧</a:t>
              </a:r>
            </a:p>
          </p:txBody>
        </p:sp>
      </p:grpSp>
      <p:sp>
        <p:nvSpPr>
          <p:cNvPr id="51" name="テキスト ボックス 50">
            <a:extLst>
              <a:ext uri="{FF2B5EF4-FFF2-40B4-BE49-F238E27FC236}">
                <a16:creationId xmlns:a16="http://schemas.microsoft.com/office/drawing/2014/main" id="{2B3D7190-42DB-275A-8B35-5F660ACBB4AF}"/>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３．企画提案の内容⑦</a:t>
            </a:r>
          </a:p>
        </p:txBody>
      </p:sp>
      <p:graphicFrame>
        <p:nvGraphicFramePr>
          <p:cNvPr id="3" name="表 2">
            <a:extLst>
              <a:ext uri="{FF2B5EF4-FFF2-40B4-BE49-F238E27FC236}">
                <a16:creationId xmlns:a16="http://schemas.microsoft.com/office/drawing/2014/main" id="{76B253C7-62B0-6D57-21E1-C793151063E4}"/>
              </a:ext>
            </a:extLst>
          </p:cNvPr>
          <p:cNvGraphicFramePr>
            <a:graphicFrameLocks noGrp="1"/>
          </p:cNvGraphicFramePr>
          <p:nvPr>
            <p:extLst>
              <p:ext uri="{D42A27DB-BD31-4B8C-83A1-F6EECF244321}">
                <p14:modId xmlns:p14="http://schemas.microsoft.com/office/powerpoint/2010/main" val="85542562"/>
              </p:ext>
            </p:extLst>
          </p:nvPr>
        </p:nvGraphicFramePr>
        <p:xfrm>
          <a:off x="1720201" y="3655105"/>
          <a:ext cx="7902276" cy="487680"/>
        </p:xfrm>
        <a:graphic>
          <a:graphicData uri="http://schemas.openxmlformats.org/drawingml/2006/table">
            <a:tbl>
              <a:tblPr firstRow="1" bandRow="1">
                <a:tableStyleId>{073A0DAA-6AF3-43AB-8588-CEC1D06C72B9}</a:tableStyleId>
              </a:tblPr>
              <a:tblGrid>
                <a:gridCol w="658523">
                  <a:extLst>
                    <a:ext uri="{9D8B030D-6E8A-4147-A177-3AD203B41FA5}">
                      <a16:colId xmlns:a16="http://schemas.microsoft.com/office/drawing/2014/main" val="1279828408"/>
                    </a:ext>
                  </a:extLst>
                </a:gridCol>
                <a:gridCol w="658523">
                  <a:extLst>
                    <a:ext uri="{9D8B030D-6E8A-4147-A177-3AD203B41FA5}">
                      <a16:colId xmlns:a16="http://schemas.microsoft.com/office/drawing/2014/main" val="1096387884"/>
                    </a:ext>
                  </a:extLst>
                </a:gridCol>
                <a:gridCol w="658523">
                  <a:extLst>
                    <a:ext uri="{9D8B030D-6E8A-4147-A177-3AD203B41FA5}">
                      <a16:colId xmlns:a16="http://schemas.microsoft.com/office/drawing/2014/main" val="937096245"/>
                    </a:ext>
                  </a:extLst>
                </a:gridCol>
                <a:gridCol w="658523">
                  <a:extLst>
                    <a:ext uri="{9D8B030D-6E8A-4147-A177-3AD203B41FA5}">
                      <a16:colId xmlns:a16="http://schemas.microsoft.com/office/drawing/2014/main" val="2979925392"/>
                    </a:ext>
                  </a:extLst>
                </a:gridCol>
                <a:gridCol w="658523">
                  <a:extLst>
                    <a:ext uri="{9D8B030D-6E8A-4147-A177-3AD203B41FA5}">
                      <a16:colId xmlns:a16="http://schemas.microsoft.com/office/drawing/2014/main" val="4251857446"/>
                    </a:ext>
                  </a:extLst>
                </a:gridCol>
                <a:gridCol w="658523">
                  <a:extLst>
                    <a:ext uri="{9D8B030D-6E8A-4147-A177-3AD203B41FA5}">
                      <a16:colId xmlns:a16="http://schemas.microsoft.com/office/drawing/2014/main" val="3062251658"/>
                    </a:ext>
                  </a:extLst>
                </a:gridCol>
                <a:gridCol w="658523">
                  <a:extLst>
                    <a:ext uri="{9D8B030D-6E8A-4147-A177-3AD203B41FA5}">
                      <a16:colId xmlns:a16="http://schemas.microsoft.com/office/drawing/2014/main" val="2231374747"/>
                    </a:ext>
                  </a:extLst>
                </a:gridCol>
                <a:gridCol w="658523">
                  <a:extLst>
                    <a:ext uri="{9D8B030D-6E8A-4147-A177-3AD203B41FA5}">
                      <a16:colId xmlns:a16="http://schemas.microsoft.com/office/drawing/2014/main" val="1970313242"/>
                    </a:ext>
                  </a:extLst>
                </a:gridCol>
                <a:gridCol w="658523">
                  <a:extLst>
                    <a:ext uri="{9D8B030D-6E8A-4147-A177-3AD203B41FA5}">
                      <a16:colId xmlns:a16="http://schemas.microsoft.com/office/drawing/2014/main" val="241791758"/>
                    </a:ext>
                  </a:extLst>
                </a:gridCol>
                <a:gridCol w="658523">
                  <a:extLst>
                    <a:ext uri="{9D8B030D-6E8A-4147-A177-3AD203B41FA5}">
                      <a16:colId xmlns:a16="http://schemas.microsoft.com/office/drawing/2014/main" val="3199402638"/>
                    </a:ext>
                  </a:extLst>
                </a:gridCol>
                <a:gridCol w="658523">
                  <a:extLst>
                    <a:ext uri="{9D8B030D-6E8A-4147-A177-3AD203B41FA5}">
                      <a16:colId xmlns:a16="http://schemas.microsoft.com/office/drawing/2014/main" val="3944279037"/>
                    </a:ext>
                  </a:extLst>
                </a:gridCol>
                <a:gridCol w="658523">
                  <a:extLst>
                    <a:ext uri="{9D8B030D-6E8A-4147-A177-3AD203B41FA5}">
                      <a16:colId xmlns:a16="http://schemas.microsoft.com/office/drawing/2014/main" val="3265446030"/>
                    </a:ext>
                  </a:extLst>
                </a:gridCol>
              </a:tblGrid>
              <a:tr h="216000">
                <a:tc gridSpan="9">
                  <a:txBody>
                    <a:bodyPr/>
                    <a:lstStyle/>
                    <a:p>
                      <a:pPr algn="ctr">
                        <a:lnSpc>
                          <a:spcPts val="1200"/>
                        </a:lnSpc>
                      </a:pPr>
                      <a:r>
                        <a:rPr kumimoji="1" lang="ja-JP" altLang="en-US" sz="1000" dirty="0"/>
                        <a:t>令和</a:t>
                      </a:r>
                      <a:r>
                        <a:rPr kumimoji="1" lang="en-US" altLang="ja-JP" sz="1000" dirty="0"/>
                        <a:t>10</a:t>
                      </a:r>
                      <a:r>
                        <a:rPr kumimoji="1" lang="ja-JP" altLang="en-US" sz="1000" dirty="0"/>
                        <a:t>年（</a:t>
                      </a:r>
                      <a:r>
                        <a:rPr kumimoji="1" lang="en-US" altLang="ja-JP" sz="1000" dirty="0"/>
                        <a:t>2028</a:t>
                      </a:r>
                      <a:r>
                        <a:rPr kumimoji="1" lang="ja-JP" altLang="en-US" sz="1000" dirty="0"/>
                        <a:t>年）</a:t>
                      </a:r>
                    </a:p>
                  </a:txBody>
                  <a:tcPr anchor="ctr">
                    <a:solidFill>
                      <a:schemeClr val="tx2"/>
                    </a:solidFill>
                  </a:tcP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tc gridSpan="3">
                  <a:txBody>
                    <a:bodyPr/>
                    <a:lstStyle/>
                    <a:p>
                      <a:pPr algn="ctr">
                        <a:lnSpc>
                          <a:spcPts val="1200"/>
                        </a:lnSpc>
                      </a:pPr>
                      <a:r>
                        <a:rPr kumimoji="1" lang="ja-JP" altLang="en-US" sz="1000" dirty="0"/>
                        <a:t>令和</a:t>
                      </a:r>
                      <a:r>
                        <a:rPr kumimoji="1" lang="en-US" altLang="ja-JP" sz="1000" dirty="0"/>
                        <a:t>11</a:t>
                      </a:r>
                      <a:r>
                        <a:rPr kumimoji="1" lang="ja-JP" altLang="en-US" sz="1000" dirty="0"/>
                        <a:t>年（</a:t>
                      </a:r>
                      <a:r>
                        <a:rPr kumimoji="1" lang="en-US" altLang="ja-JP" sz="1000" dirty="0"/>
                        <a:t>2029</a:t>
                      </a:r>
                      <a:r>
                        <a:rPr kumimoji="1" lang="ja-JP" altLang="en-US" sz="1000" dirty="0"/>
                        <a:t>年）</a:t>
                      </a:r>
                    </a:p>
                  </a:txBody>
                  <a:tcPr anchor="ctr">
                    <a:solidFill>
                      <a:schemeClr val="tx2"/>
                    </a:solidFill>
                  </a:tcPr>
                </a:tc>
                <a:tc hMerge="1">
                  <a:txBody>
                    <a:bodyPr/>
                    <a:lstStyle/>
                    <a:p>
                      <a:pPr algn="ctr">
                        <a:lnSpc>
                          <a:spcPts val="1200"/>
                        </a:lnSpc>
                      </a:pPr>
                      <a:endParaRPr kumimoji="1" lang="ja-JP" altLang="en-US" sz="1000"/>
                    </a:p>
                  </a:txBody>
                  <a:tcPr anchor="ctr"/>
                </a:tc>
                <a:tc hMerge="1">
                  <a:txBody>
                    <a:bodyPr/>
                    <a:lstStyle/>
                    <a:p>
                      <a:pPr algn="ctr">
                        <a:lnSpc>
                          <a:spcPts val="1200"/>
                        </a:lnSpc>
                      </a:pPr>
                      <a:endParaRPr kumimoji="1" lang="ja-JP" altLang="en-US" sz="1000"/>
                    </a:p>
                  </a:txBody>
                  <a:tcPr anchor="ctr"/>
                </a:tc>
                <a:extLst>
                  <a:ext uri="{0D108BD9-81ED-4DB2-BD59-A6C34878D82A}">
                    <a16:rowId xmlns:a16="http://schemas.microsoft.com/office/drawing/2014/main" val="2309090938"/>
                  </a:ext>
                </a:extLst>
              </a:tr>
              <a:tr h="216000">
                <a:tc>
                  <a:txBody>
                    <a:bodyPr/>
                    <a:lstStyle/>
                    <a:p>
                      <a:pPr algn="ctr">
                        <a:lnSpc>
                          <a:spcPts val="1200"/>
                        </a:lnSpc>
                      </a:pPr>
                      <a:r>
                        <a:rPr kumimoji="1" lang="en-US" altLang="ja-JP" sz="1000"/>
                        <a:t>4</a:t>
                      </a:r>
                      <a:r>
                        <a:rPr kumimoji="1" lang="ja-JP" altLang="en-US" sz="1000"/>
                        <a:t>月</a:t>
                      </a:r>
                    </a:p>
                  </a:txBody>
                  <a:tcPr anchor="ctr"/>
                </a:tc>
                <a:tc>
                  <a:txBody>
                    <a:bodyPr/>
                    <a:lstStyle/>
                    <a:p>
                      <a:pPr algn="ctr">
                        <a:lnSpc>
                          <a:spcPts val="1200"/>
                        </a:lnSpc>
                      </a:pPr>
                      <a:r>
                        <a:rPr kumimoji="1" lang="en-US" altLang="ja-JP" sz="1000"/>
                        <a:t>5</a:t>
                      </a:r>
                      <a:r>
                        <a:rPr kumimoji="1" lang="ja-JP" altLang="en-US" sz="1000"/>
                        <a:t>月</a:t>
                      </a:r>
                    </a:p>
                  </a:txBody>
                  <a:tcPr anchor="ctr"/>
                </a:tc>
                <a:tc>
                  <a:txBody>
                    <a:bodyPr/>
                    <a:lstStyle/>
                    <a:p>
                      <a:pPr algn="ctr">
                        <a:lnSpc>
                          <a:spcPts val="1200"/>
                        </a:lnSpc>
                      </a:pPr>
                      <a:r>
                        <a:rPr kumimoji="1" lang="en-US" altLang="ja-JP" sz="1000"/>
                        <a:t>6</a:t>
                      </a:r>
                      <a:r>
                        <a:rPr kumimoji="1" lang="ja-JP" altLang="en-US" sz="1000"/>
                        <a:t>月</a:t>
                      </a:r>
                    </a:p>
                  </a:txBody>
                  <a:tcPr anchor="ctr"/>
                </a:tc>
                <a:tc>
                  <a:txBody>
                    <a:bodyPr/>
                    <a:lstStyle/>
                    <a:p>
                      <a:pPr algn="ctr">
                        <a:lnSpc>
                          <a:spcPts val="1200"/>
                        </a:lnSpc>
                      </a:pPr>
                      <a:r>
                        <a:rPr kumimoji="1" lang="en-US" altLang="ja-JP" sz="1000"/>
                        <a:t>7</a:t>
                      </a:r>
                      <a:r>
                        <a:rPr kumimoji="1" lang="ja-JP" altLang="en-US" sz="1000"/>
                        <a:t>月</a:t>
                      </a:r>
                    </a:p>
                  </a:txBody>
                  <a:tcPr anchor="ctr"/>
                </a:tc>
                <a:tc>
                  <a:txBody>
                    <a:bodyPr/>
                    <a:lstStyle/>
                    <a:p>
                      <a:pPr algn="ctr">
                        <a:lnSpc>
                          <a:spcPts val="1200"/>
                        </a:lnSpc>
                      </a:pPr>
                      <a:r>
                        <a:rPr kumimoji="1" lang="en-US" altLang="ja-JP" sz="1000"/>
                        <a:t>8</a:t>
                      </a:r>
                      <a:r>
                        <a:rPr kumimoji="1" lang="ja-JP" altLang="en-US" sz="1000"/>
                        <a:t>月</a:t>
                      </a:r>
                    </a:p>
                  </a:txBody>
                  <a:tcPr anchor="ctr"/>
                </a:tc>
                <a:tc>
                  <a:txBody>
                    <a:bodyPr/>
                    <a:lstStyle/>
                    <a:p>
                      <a:pPr algn="ctr">
                        <a:lnSpc>
                          <a:spcPts val="1200"/>
                        </a:lnSpc>
                      </a:pPr>
                      <a:r>
                        <a:rPr kumimoji="1" lang="en-US" altLang="ja-JP" sz="1000" dirty="0"/>
                        <a:t>9</a:t>
                      </a:r>
                      <a:r>
                        <a:rPr kumimoji="1" lang="ja-JP" altLang="en-US" sz="1000" dirty="0"/>
                        <a:t>月</a:t>
                      </a:r>
                    </a:p>
                  </a:txBody>
                  <a:tcPr anchor="ctr"/>
                </a:tc>
                <a:tc>
                  <a:txBody>
                    <a:bodyPr/>
                    <a:lstStyle/>
                    <a:p>
                      <a:pPr algn="ctr">
                        <a:lnSpc>
                          <a:spcPts val="1200"/>
                        </a:lnSpc>
                      </a:pPr>
                      <a:r>
                        <a:rPr kumimoji="1" lang="en-US" altLang="ja-JP" sz="1000" dirty="0"/>
                        <a:t>10</a:t>
                      </a:r>
                      <a:r>
                        <a:rPr kumimoji="1" lang="ja-JP" altLang="en-US" sz="1000" dirty="0"/>
                        <a:t>月</a:t>
                      </a:r>
                    </a:p>
                  </a:txBody>
                  <a:tcPr anchor="ctr"/>
                </a:tc>
                <a:tc>
                  <a:txBody>
                    <a:bodyPr/>
                    <a:lstStyle/>
                    <a:p>
                      <a:pPr algn="ctr">
                        <a:lnSpc>
                          <a:spcPts val="1200"/>
                        </a:lnSpc>
                      </a:pPr>
                      <a:r>
                        <a:rPr kumimoji="1" lang="en-US" altLang="ja-JP" sz="1000" dirty="0"/>
                        <a:t>11</a:t>
                      </a:r>
                      <a:r>
                        <a:rPr kumimoji="1" lang="ja-JP" altLang="en-US" sz="1000" dirty="0"/>
                        <a:t>月</a:t>
                      </a:r>
                    </a:p>
                  </a:txBody>
                  <a:tcPr anchor="ctr"/>
                </a:tc>
                <a:tc>
                  <a:txBody>
                    <a:bodyPr/>
                    <a:lstStyle/>
                    <a:p>
                      <a:pPr algn="ctr">
                        <a:lnSpc>
                          <a:spcPts val="1200"/>
                        </a:lnSpc>
                      </a:pPr>
                      <a:r>
                        <a:rPr kumimoji="1" lang="en-US" altLang="ja-JP" sz="1000"/>
                        <a:t>12</a:t>
                      </a:r>
                      <a:r>
                        <a:rPr kumimoji="1" lang="ja-JP" altLang="en-US" sz="1000"/>
                        <a:t>月</a:t>
                      </a:r>
                    </a:p>
                  </a:txBody>
                  <a:tcPr anchor="ctr"/>
                </a:tc>
                <a:tc>
                  <a:txBody>
                    <a:bodyPr/>
                    <a:lstStyle/>
                    <a:p>
                      <a:pPr algn="ctr">
                        <a:lnSpc>
                          <a:spcPts val="1200"/>
                        </a:lnSpc>
                      </a:pPr>
                      <a:r>
                        <a:rPr kumimoji="1" lang="en-US" altLang="ja-JP" sz="1000"/>
                        <a:t>1</a:t>
                      </a:r>
                      <a:r>
                        <a:rPr kumimoji="1" lang="ja-JP" altLang="en-US" sz="1000"/>
                        <a:t>月</a:t>
                      </a:r>
                    </a:p>
                  </a:txBody>
                  <a:tcPr anchor="ctr"/>
                </a:tc>
                <a:tc>
                  <a:txBody>
                    <a:bodyPr/>
                    <a:lstStyle/>
                    <a:p>
                      <a:pPr algn="ctr">
                        <a:lnSpc>
                          <a:spcPts val="1200"/>
                        </a:lnSpc>
                      </a:pPr>
                      <a:r>
                        <a:rPr kumimoji="1" lang="en-US" altLang="ja-JP" sz="1000"/>
                        <a:t>2</a:t>
                      </a:r>
                      <a:r>
                        <a:rPr kumimoji="1" lang="ja-JP" altLang="en-US" sz="1000"/>
                        <a:t>月</a:t>
                      </a:r>
                    </a:p>
                  </a:txBody>
                  <a:tcPr anchor="ctr"/>
                </a:tc>
                <a:tc>
                  <a:txBody>
                    <a:bodyPr/>
                    <a:lstStyle/>
                    <a:p>
                      <a:pPr algn="ctr">
                        <a:lnSpc>
                          <a:spcPts val="1200"/>
                        </a:lnSpc>
                      </a:pPr>
                      <a:r>
                        <a:rPr kumimoji="1" lang="en-US" altLang="ja-JP" sz="1000" dirty="0"/>
                        <a:t>3</a:t>
                      </a:r>
                      <a:r>
                        <a:rPr kumimoji="1" lang="ja-JP" altLang="en-US" sz="1000" dirty="0"/>
                        <a:t>月</a:t>
                      </a:r>
                    </a:p>
                  </a:txBody>
                  <a:tcPr anchor="ctr"/>
                </a:tc>
                <a:extLst>
                  <a:ext uri="{0D108BD9-81ED-4DB2-BD59-A6C34878D82A}">
                    <a16:rowId xmlns:a16="http://schemas.microsoft.com/office/drawing/2014/main" val="3205325247"/>
                  </a:ext>
                </a:extLst>
              </a:tr>
            </a:tbl>
          </a:graphicData>
        </a:graphic>
      </p:graphicFrame>
      <p:sp>
        <p:nvSpPr>
          <p:cNvPr id="4" name="正方形/長方形 3">
            <a:extLst>
              <a:ext uri="{FF2B5EF4-FFF2-40B4-BE49-F238E27FC236}">
                <a16:creationId xmlns:a16="http://schemas.microsoft.com/office/drawing/2014/main" id="{8EECE69D-E5DD-8F43-72DA-A418E3DC39A3}"/>
              </a:ext>
            </a:extLst>
          </p:cNvPr>
          <p:cNvSpPr/>
          <p:nvPr/>
        </p:nvSpPr>
        <p:spPr bwMode="gray">
          <a:xfrm>
            <a:off x="1745301" y="4193034"/>
            <a:ext cx="7867650" cy="1440000"/>
          </a:xfrm>
          <a:prstGeom prst="rect">
            <a:avLst/>
          </a:prstGeom>
          <a:solidFill>
            <a:srgbClr val="D9F3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u="sng" dirty="0"/>
              <a:t>関係者との調整・実証実施を行う上で実現可能なスケジュールを記載すること。</a:t>
            </a:r>
            <a:endParaRPr kumimoji="1" lang="en-US" altLang="ja-JP" sz="1200" b="1" u="sng" dirty="0"/>
          </a:p>
          <a:p>
            <a:pPr algn="ctr" defTabSz="990564" fontAlgn="auto">
              <a:spcBef>
                <a:spcPts val="0"/>
              </a:spcBef>
              <a:spcAft>
                <a:spcPts val="0"/>
              </a:spcAft>
              <a:buSzPct val="100000"/>
            </a:pPr>
            <a:r>
              <a:rPr kumimoji="1" lang="ja-JP" altLang="en-US" sz="1200" b="1" u="sng" dirty="0"/>
              <a:t>取組内容が分かるように適宜工夫いただき作成ください。</a:t>
            </a:r>
            <a:endParaRPr kumimoji="1" lang="en-US" altLang="ja-JP" sz="1200" b="1" u="sng" dirty="0"/>
          </a:p>
        </p:txBody>
      </p:sp>
      <p:grpSp>
        <p:nvGrpSpPr>
          <p:cNvPr id="5" name="グループ化 4">
            <a:extLst>
              <a:ext uri="{FF2B5EF4-FFF2-40B4-BE49-F238E27FC236}">
                <a16:creationId xmlns:a16="http://schemas.microsoft.com/office/drawing/2014/main" id="{2C68C1AF-B621-773F-F623-3DFCEB6A4A19}"/>
              </a:ext>
            </a:extLst>
          </p:cNvPr>
          <p:cNvGrpSpPr/>
          <p:nvPr/>
        </p:nvGrpSpPr>
        <p:grpSpPr>
          <a:xfrm>
            <a:off x="259045" y="4195645"/>
            <a:ext cx="1440000" cy="1427126"/>
            <a:chOff x="313969" y="1669486"/>
            <a:chExt cx="1440000" cy="1427126"/>
          </a:xfrm>
        </p:grpSpPr>
        <p:sp>
          <p:nvSpPr>
            <p:cNvPr id="6" name="四角形: 角を丸くする 5">
              <a:extLst>
                <a:ext uri="{FF2B5EF4-FFF2-40B4-BE49-F238E27FC236}">
                  <a16:creationId xmlns:a16="http://schemas.microsoft.com/office/drawing/2014/main" id="{775880AF-F605-C809-CBF9-07B208E2E556}"/>
                </a:ext>
              </a:extLst>
            </p:cNvPr>
            <p:cNvSpPr/>
            <p:nvPr/>
          </p:nvSpPr>
          <p:spPr>
            <a:xfrm>
              <a:off x="313969" y="1669486"/>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①</a:t>
              </a:r>
            </a:p>
          </p:txBody>
        </p:sp>
        <p:sp>
          <p:nvSpPr>
            <p:cNvPr id="7" name="四角形: 角を丸くする 6">
              <a:extLst>
                <a:ext uri="{FF2B5EF4-FFF2-40B4-BE49-F238E27FC236}">
                  <a16:creationId xmlns:a16="http://schemas.microsoft.com/office/drawing/2014/main" id="{C6E37477-EEF2-69A8-5B44-06F9462CBC50}"/>
                </a:ext>
              </a:extLst>
            </p:cNvPr>
            <p:cNvSpPr/>
            <p:nvPr/>
          </p:nvSpPr>
          <p:spPr>
            <a:xfrm>
              <a:off x="313969" y="1852155"/>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②</a:t>
              </a:r>
            </a:p>
          </p:txBody>
        </p:sp>
        <p:sp>
          <p:nvSpPr>
            <p:cNvPr id="8" name="四角形: 角を丸くする 7">
              <a:extLst>
                <a:ext uri="{FF2B5EF4-FFF2-40B4-BE49-F238E27FC236}">
                  <a16:creationId xmlns:a16="http://schemas.microsoft.com/office/drawing/2014/main" id="{C8673512-F6B3-3CA5-68B3-98AC5D3C12C2}"/>
                </a:ext>
              </a:extLst>
            </p:cNvPr>
            <p:cNvSpPr/>
            <p:nvPr/>
          </p:nvSpPr>
          <p:spPr>
            <a:xfrm>
              <a:off x="313969" y="2034824"/>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③</a:t>
              </a:r>
            </a:p>
          </p:txBody>
        </p:sp>
        <p:sp>
          <p:nvSpPr>
            <p:cNvPr id="9" name="四角形: 角を丸くする 8">
              <a:extLst>
                <a:ext uri="{FF2B5EF4-FFF2-40B4-BE49-F238E27FC236}">
                  <a16:creationId xmlns:a16="http://schemas.microsoft.com/office/drawing/2014/main" id="{B37D3F77-6CE5-2CCE-2D25-AF7B727E3390}"/>
                </a:ext>
              </a:extLst>
            </p:cNvPr>
            <p:cNvSpPr/>
            <p:nvPr/>
          </p:nvSpPr>
          <p:spPr>
            <a:xfrm>
              <a:off x="313969" y="2217493"/>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④</a:t>
              </a:r>
            </a:p>
          </p:txBody>
        </p:sp>
        <p:sp>
          <p:nvSpPr>
            <p:cNvPr id="10" name="四角形: 角を丸くする 9">
              <a:extLst>
                <a:ext uri="{FF2B5EF4-FFF2-40B4-BE49-F238E27FC236}">
                  <a16:creationId xmlns:a16="http://schemas.microsoft.com/office/drawing/2014/main" id="{83D42E9A-0939-C674-C5FE-EC9207A0531B}"/>
                </a:ext>
              </a:extLst>
            </p:cNvPr>
            <p:cNvSpPr/>
            <p:nvPr/>
          </p:nvSpPr>
          <p:spPr>
            <a:xfrm>
              <a:off x="313969" y="2400162"/>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n-ea"/>
                  <a:cs typeface="+mn-cs"/>
                </a:rPr>
                <a:t>取組⑤</a:t>
              </a:r>
            </a:p>
          </p:txBody>
        </p:sp>
        <p:sp>
          <p:nvSpPr>
            <p:cNvPr id="11" name="四角形: 角を丸くする 10">
              <a:extLst>
                <a:ext uri="{FF2B5EF4-FFF2-40B4-BE49-F238E27FC236}">
                  <a16:creationId xmlns:a16="http://schemas.microsoft.com/office/drawing/2014/main" id="{47B86177-AFD5-F49D-10D0-F40C723A1349}"/>
                </a:ext>
              </a:extLst>
            </p:cNvPr>
            <p:cNvSpPr/>
            <p:nvPr/>
          </p:nvSpPr>
          <p:spPr>
            <a:xfrm>
              <a:off x="313969" y="2587274"/>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a:t>
              </a:r>
              <a:r>
                <a:rPr kumimoji="1" lang="ja-JP" altLang="en-US" sz="1000" b="1" kern="0" dirty="0">
                  <a:solidFill>
                    <a:prstClr val="white"/>
                  </a:solidFill>
                  <a:latin typeface="+mn-ea"/>
                  <a:cs typeface="+mn-cs"/>
                </a:rPr>
                <a:t>⑥</a:t>
              </a:r>
              <a:endParaRPr kumimoji="1" lang="ja-JP" altLang="en-US" sz="1000" b="1" i="0" u="none" strike="noStrike" kern="0" cap="none" spc="0" normalizeH="0" baseline="0" noProof="0" dirty="0">
                <a:ln>
                  <a:noFill/>
                </a:ln>
                <a:solidFill>
                  <a:prstClr val="white"/>
                </a:solidFill>
                <a:effectLst/>
                <a:uLnTx/>
                <a:uFillTx/>
                <a:latin typeface="+mn-ea"/>
                <a:cs typeface="+mn-cs"/>
              </a:endParaRPr>
            </a:p>
          </p:txBody>
        </p:sp>
        <p:sp>
          <p:nvSpPr>
            <p:cNvPr id="12" name="四角形: 角を丸くする 11">
              <a:extLst>
                <a:ext uri="{FF2B5EF4-FFF2-40B4-BE49-F238E27FC236}">
                  <a16:creationId xmlns:a16="http://schemas.microsoft.com/office/drawing/2014/main" id="{18773FCC-1BE7-2D8F-BB36-62FCD523B15E}"/>
                </a:ext>
              </a:extLst>
            </p:cNvPr>
            <p:cNvSpPr/>
            <p:nvPr/>
          </p:nvSpPr>
          <p:spPr>
            <a:xfrm>
              <a:off x="313969" y="2769943"/>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⑦</a:t>
              </a:r>
            </a:p>
          </p:txBody>
        </p:sp>
        <p:sp>
          <p:nvSpPr>
            <p:cNvPr id="17" name="四角形: 角を丸くする 16">
              <a:extLst>
                <a:ext uri="{FF2B5EF4-FFF2-40B4-BE49-F238E27FC236}">
                  <a16:creationId xmlns:a16="http://schemas.microsoft.com/office/drawing/2014/main" id="{5D76B838-2F95-2D04-A594-C4C2777CF287}"/>
                </a:ext>
              </a:extLst>
            </p:cNvPr>
            <p:cNvSpPr/>
            <p:nvPr/>
          </p:nvSpPr>
          <p:spPr>
            <a:xfrm>
              <a:off x="313969" y="2952612"/>
              <a:ext cx="1440000" cy="144000"/>
            </a:xfrm>
            <a:prstGeom prst="roundRect">
              <a:avLst/>
            </a:prstGeom>
            <a:solidFill>
              <a:schemeClr val="tx1">
                <a:lumMod val="50000"/>
                <a:lumOff val="50000"/>
              </a:schemeClr>
            </a:solidFill>
            <a:ln w="19050" cap="flat" cmpd="sng" algn="ctr">
              <a:solidFill>
                <a:schemeClr val="tx1">
                  <a:lumMod val="50000"/>
                  <a:lumOff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prstClr val="white"/>
                  </a:solidFill>
                  <a:effectLst/>
                  <a:uLnTx/>
                  <a:uFillTx/>
                  <a:latin typeface="+mn-ea"/>
                  <a:cs typeface="+mn-cs"/>
                </a:rPr>
                <a:t>取組⑧</a:t>
              </a:r>
            </a:p>
          </p:txBody>
        </p:sp>
      </p:grpSp>
      <p:sp>
        <p:nvSpPr>
          <p:cNvPr id="14" name="正方形/長方形 13">
            <a:extLst>
              <a:ext uri="{FF2B5EF4-FFF2-40B4-BE49-F238E27FC236}">
                <a16:creationId xmlns:a16="http://schemas.microsoft.com/office/drawing/2014/main" id="{4A9D4388-7782-DA92-2327-CC6420266538}"/>
              </a:ext>
            </a:extLst>
          </p:cNvPr>
          <p:cNvSpPr/>
          <p:nvPr/>
        </p:nvSpPr>
        <p:spPr bwMode="gray">
          <a:xfrm>
            <a:off x="751217" y="6415014"/>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200"/>
              </a:lnSpc>
              <a:spcBef>
                <a:spcPts val="0"/>
              </a:spcBef>
              <a:spcAft>
                <a:spcPts val="0"/>
              </a:spcAft>
              <a:buSzPct val="100000"/>
            </a:pPr>
            <a:r>
              <a:rPr kumimoji="1" lang="en-US" altLang="ja-JP" sz="1050" dirty="0">
                <a:solidFill>
                  <a:srgbClr val="C00000"/>
                </a:solidFill>
                <a:latin typeface="+mn-ea"/>
                <a:cs typeface="+mn-cs"/>
              </a:rPr>
              <a:t>※</a:t>
            </a:r>
            <a:r>
              <a:rPr kumimoji="1" lang="ja-JP" altLang="en-US" sz="1050" dirty="0">
                <a:solidFill>
                  <a:srgbClr val="C00000"/>
                </a:solidFill>
                <a:latin typeface="+mn-ea"/>
                <a:cs typeface="+mn-cs"/>
              </a:rPr>
              <a:t>適宜レイアウトを調整し、</a:t>
            </a:r>
            <a:r>
              <a:rPr kumimoji="1" lang="en-US" altLang="ja-JP" sz="1050" dirty="0">
                <a:solidFill>
                  <a:srgbClr val="C00000"/>
                </a:solidFill>
                <a:latin typeface="+mn-ea"/>
              </a:rPr>
              <a:t>1</a:t>
            </a:r>
            <a:r>
              <a:rPr kumimoji="1" lang="ja-JP" altLang="en-US" sz="1050" dirty="0">
                <a:solidFill>
                  <a:srgbClr val="C00000"/>
                </a:solidFill>
                <a:latin typeface="+mn-ea"/>
              </a:rPr>
              <a:t>枚に収まるようにご記載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Tree>
    <p:extLst>
      <p:ext uri="{BB962C8B-B14F-4D97-AF65-F5344CB8AC3E}">
        <p14:creationId xmlns:p14="http://schemas.microsoft.com/office/powerpoint/2010/main" val="6435368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F47EAA8F-4508-B3B2-9FB8-ABCFA293204E}"/>
              </a:ext>
            </a:extLst>
          </p:cNvPr>
          <p:cNvSpPr>
            <a:spLocks noGrp="1"/>
          </p:cNvSpPr>
          <p:nvPr>
            <p:ph type="sldNum" sz="quarter" idx="11"/>
          </p:nvPr>
        </p:nvSpPr>
        <p:spPr/>
        <p:txBody>
          <a:bodyPr/>
          <a:lstStyle/>
          <a:p>
            <a:fld id="{AA5FCFE5-FE56-4EF1-80A8-07776887C2A1}" type="slidenum">
              <a:rPr lang="ja-JP" altLang="en-US" smtClean="0"/>
              <a:pPr/>
              <a:t>22</a:t>
            </a:fld>
            <a:endParaRPr lang="ja-JP" altLang="en-US"/>
          </a:p>
        </p:txBody>
      </p:sp>
      <p:sp>
        <p:nvSpPr>
          <p:cNvPr id="6" name="テキスト プレースホルダー 5">
            <a:extLst>
              <a:ext uri="{FF2B5EF4-FFF2-40B4-BE49-F238E27FC236}">
                <a16:creationId xmlns:a16="http://schemas.microsoft.com/office/drawing/2014/main" id="{0FA82888-B090-1AE2-D714-14F87275C1BD}"/>
              </a:ext>
            </a:extLst>
          </p:cNvPr>
          <p:cNvSpPr>
            <a:spLocks noGrp="1"/>
          </p:cNvSpPr>
          <p:nvPr>
            <p:ph type="body" sz="quarter" idx="15"/>
          </p:nvPr>
        </p:nvSpPr>
        <p:spPr/>
        <p:txBody>
          <a:bodyPr/>
          <a:lstStyle/>
          <a:p>
            <a:endParaRPr lang="ja-JP" altLang="en-US"/>
          </a:p>
        </p:txBody>
      </p:sp>
      <p:sp>
        <p:nvSpPr>
          <p:cNvPr id="7" name="正方形/長方形 6">
            <a:extLst>
              <a:ext uri="{FF2B5EF4-FFF2-40B4-BE49-F238E27FC236}">
                <a16:creationId xmlns:a16="http://schemas.microsoft.com/office/drawing/2014/main" id="{9B47E73F-8ABB-985F-1101-361D260CF885}"/>
              </a:ext>
            </a:extLst>
          </p:cNvPr>
          <p:cNvSpPr/>
          <p:nvPr/>
        </p:nvSpPr>
        <p:spPr bwMode="gray">
          <a:xfrm>
            <a:off x="220816" y="892423"/>
            <a:ext cx="9494682" cy="5695577"/>
          </a:xfrm>
          <a:prstGeom prst="rect">
            <a:avLst/>
          </a:prstGeom>
          <a:solidFill>
            <a:srgbClr val="D9F3FF"/>
          </a:solid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u="sng" dirty="0">
                <a:solidFill>
                  <a:prstClr val="black"/>
                </a:solidFill>
                <a:latin typeface="+mn-lt"/>
                <a:cs typeface="+mn-cs"/>
              </a:rPr>
              <a:t>実績の詳細の記載や参考資料があれば貼付すること（該当する資料がない場合は記載しないでも良い）</a:t>
            </a:r>
            <a:endParaRPr kumimoji="1" lang="en-US" altLang="ja-JP" sz="1200" b="1" u="sng" dirty="0">
              <a:solidFill>
                <a:prstClr val="black"/>
              </a:solidFill>
              <a:latin typeface="+mn-lt"/>
              <a:cs typeface="+mn-cs"/>
            </a:endParaRPr>
          </a:p>
        </p:txBody>
      </p:sp>
      <p:sp>
        <p:nvSpPr>
          <p:cNvPr id="8" name="正方形/長方形 7">
            <a:extLst>
              <a:ext uri="{FF2B5EF4-FFF2-40B4-BE49-F238E27FC236}">
                <a16:creationId xmlns:a16="http://schemas.microsoft.com/office/drawing/2014/main" id="{F97F2995-EE6A-028E-4D0A-960F13D2CAB2}"/>
              </a:ext>
            </a:extLst>
          </p:cNvPr>
          <p:cNvSpPr/>
          <p:nvPr/>
        </p:nvSpPr>
        <p:spPr bwMode="gray">
          <a:xfrm>
            <a:off x="132712" y="576550"/>
            <a:ext cx="2419987"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績の参考資料</a:t>
            </a:r>
            <a:endParaRPr kumimoji="1" lang="en-US" altLang="ja-JP" sz="1200" b="1" dirty="0">
              <a:latin typeface="+mj-ea"/>
              <a:ea typeface="+mj-ea"/>
              <a:cs typeface="+mn-cs"/>
            </a:endParaRPr>
          </a:p>
        </p:txBody>
      </p:sp>
      <p:sp>
        <p:nvSpPr>
          <p:cNvPr id="10" name="テキスト ボックス 9">
            <a:extLst>
              <a:ext uri="{FF2B5EF4-FFF2-40B4-BE49-F238E27FC236}">
                <a16:creationId xmlns:a16="http://schemas.microsoft.com/office/drawing/2014/main" id="{B10B13DC-FEE1-7D1F-FD60-B04DB2BD6626}"/>
              </a:ext>
            </a:extLst>
          </p:cNvPr>
          <p:cNvSpPr txBox="1"/>
          <p:nvPr/>
        </p:nvSpPr>
        <p:spPr>
          <a:xfrm>
            <a:off x="16175" y="3652"/>
            <a:ext cx="8680149"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４．実績の参考資料（ ２．実施体制③の補足情報）</a:t>
            </a:r>
          </a:p>
        </p:txBody>
      </p:sp>
      <p:sp>
        <p:nvSpPr>
          <p:cNvPr id="3" name="四角形: 角を丸くする 2">
            <a:extLst>
              <a:ext uri="{FF2B5EF4-FFF2-40B4-BE49-F238E27FC236}">
                <a16:creationId xmlns:a16="http://schemas.microsoft.com/office/drawing/2014/main" id="{18C1E9A3-C1A9-81D3-6B7A-0390593B20E2}"/>
              </a:ext>
            </a:extLst>
          </p:cNvPr>
          <p:cNvSpPr/>
          <p:nvPr/>
        </p:nvSpPr>
        <p:spPr bwMode="gray">
          <a:xfrm>
            <a:off x="6543675" y="576062"/>
            <a:ext cx="3171823" cy="221018"/>
          </a:xfrm>
          <a:prstGeom prst="roundRect">
            <a:avLst>
              <a:gd name="adj" fmla="val 50000"/>
            </a:avLst>
          </a:prstGeom>
          <a:solidFill>
            <a:srgbClr val="FFCCFF"/>
          </a:solidFill>
          <a:ln w="12700" algn="ctr">
            <a:solidFill>
              <a:srgbClr val="CC99FF"/>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本項目は３枚まで複写して記載いただけます</a:t>
            </a:r>
          </a:p>
        </p:txBody>
      </p:sp>
    </p:spTree>
    <p:extLst>
      <p:ext uri="{BB962C8B-B14F-4D97-AF65-F5344CB8AC3E}">
        <p14:creationId xmlns:p14="http://schemas.microsoft.com/office/powerpoint/2010/main" val="2636932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436913-DDCD-4420-924B-DB039CFE5886}"/>
              </a:ext>
            </a:extLst>
          </p:cNvPr>
          <p:cNvSpPr>
            <a:spLocks noGrp="1"/>
          </p:cNvSpPr>
          <p:nvPr>
            <p:ph type="sldNum" sz="quarter" idx="11"/>
          </p:nvPr>
        </p:nvSpPr>
        <p:spPr/>
        <p:txBody>
          <a:bodyPr/>
          <a:lstStyle/>
          <a:p>
            <a:fld id="{AA5FCFE5-FE56-4EF1-80A8-07776887C2A1}" type="slidenum">
              <a:rPr lang="ja-JP" altLang="en-US" smtClean="0"/>
              <a:pPr/>
              <a:t>3</a:t>
            </a:fld>
            <a:endParaRPr lang="ja-JP" altLang="en-US"/>
          </a:p>
        </p:txBody>
      </p:sp>
      <p:sp>
        <p:nvSpPr>
          <p:cNvPr id="4" name="テキスト ボックス 3">
            <a:extLst>
              <a:ext uri="{FF2B5EF4-FFF2-40B4-BE49-F238E27FC236}">
                <a16:creationId xmlns:a16="http://schemas.microsoft.com/office/drawing/2014/main" id="{2EA7B675-4EF3-F78C-D520-5B7849CE4D3D}"/>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２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参加表明</a:t>
            </a:r>
          </a:p>
        </p:txBody>
      </p:sp>
      <p:sp>
        <p:nvSpPr>
          <p:cNvPr id="7" name="正方形/長方形 6">
            <a:extLst>
              <a:ext uri="{FF2B5EF4-FFF2-40B4-BE49-F238E27FC236}">
                <a16:creationId xmlns:a16="http://schemas.microsoft.com/office/drawing/2014/main" id="{E91966A4-E485-B8AB-4A4F-32352D00DB65}"/>
              </a:ext>
            </a:extLst>
          </p:cNvPr>
          <p:cNvSpPr/>
          <p:nvPr/>
        </p:nvSpPr>
        <p:spPr>
          <a:xfrm>
            <a:off x="417600" y="649289"/>
            <a:ext cx="1125449" cy="1233751"/>
          </a:xfrm>
          <a:prstGeom prst="rect">
            <a:avLst/>
          </a:prstGeom>
          <a:solidFill>
            <a:schemeClr val="tx1"/>
          </a:solidFill>
          <a:ln w="1905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kern="0">
                <a:solidFill>
                  <a:schemeClr val="bg1"/>
                </a:solidFill>
                <a:latin typeface="+mn-ea"/>
                <a:cs typeface="+mn-cs"/>
              </a:rPr>
              <a:t>案件名</a:t>
            </a:r>
            <a:endParaRPr kumimoji="1" lang="ja-JP" altLang="en-US" sz="1200" b="0" i="0" u="none" strike="noStrike" kern="0" cap="none" spc="0" normalizeH="0" baseline="0" noProof="0">
              <a:ln>
                <a:noFill/>
              </a:ln>
              <a:solidFill>
                <a:schemeClr val="bg1"/>
              </a:solidFill>
              <a:effectLst/>
              <a:uLnTx/>
              <a:uFillTx/>
              <a:latin typeface="+mn-ea"/>
              <a:cs typeface="+mn-cs"/>
            </a:endParaRPr>
          </a:p>
        </p:txBody>
      </p:sp>
      <p:sp>
        <p:nvSpPr>
          <p:cNvPr id="8" name="正方形/長方形 7">
            <a:extLst>
              <a:ext uri="{FF2B5EF4-FFF2-40B4-BE49-F238E27FC236}">
                <a16:creationId xmlns:a16="http://schemas.microsoft.com/office/drawing/2014/main" id="{30662032-4542-E816-8794-C3B40D52B023}"/>
              </a:ext>
            </a:extLst>
          </p:cNvPr>
          <p:cNvSpPr/>
          <p:nvPr/>
        </p:nvSpPr>
        <p:spPr>
          <a:xfrm>
            <a:off x="1658983" y="649288"/>
            <a:ext cx="7722900" cy="1233751"/>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algn="ctr"/>
            <a:r>
              <a:rPr lang="ja-JP" altLang="ja-JP" sz="1200" kern="100" dirty="0">
                <a:effectLst/>
                <a:latin typeface="+mn-ea"/>
                <a:cs typeface="Times New Roman" panose="02020603050405020304" pitchFamily="18" charset="0"/>
              </a:rPr>
              <a:t>令和</a:t>
            </a:r>
            <a:r>
              <a:rPr lang="en-US" altLang="ja-JP" sz="1200" kern="100" dirty="0">
                <a:effectLst/>
                <a:latin typeface="+mn-ea"/>
                <a:cs typeface="Times New Roman" panose="02020603050405020304" pitchFamily="18" charset="0"/>
              </a:rPr>
              <a:t>8</a:t>
            </a:r>
            <a:r>
              <a:rPr lang="ja-JP" altLang="ja-JP" sz="1200" kern="100" dirty="0">
                <a:effectLst/>
                <a:latin typeface="+mn-ea"/>
                <a:cs typeface="Times New Roman" panose="02020603050405020304" pitchFamily="18" charset="0"/>
              </a:rPr>
              <a:t>年度　官民協働プロジェクト推進事業</a:t>
            </a:r>
            <a:endParaRPr lang="en-US" altLang="ja-JP" sz="1200" kern="100" dirty="0">
              <a:effectLst/>
              <a:latin typeface="+mn-ea"/>
              <a:cs typeface="Times New Roman" panose="02020603050405020304" pitchFamily="18" charset="0"/>
            </a:endParaRPr>
          </a:p>
          <a:p>
            <a:pPr algn="ctr"/>
            <a:r>
              <a:rPr lang="ja-JP" altLang="en-US" sz="1200" kern="100" dirty="0">
                <a:effectLst/>
                <a:latin typeface="+mn-ea"/>
                <a:cs typeface="Times New Roman" panose="02020603050405020304" pitchFamily="18" charset="0"/>
              </a:rPr>
              <a:t>（</a:t>
            </a:r>
            <a:r>
              <a:rPr lang="ja-JP" altLang="ja-JP" sz="1200" dirty="0">
                <a:effectLst/>
                <a:latin typeface="+mn-ea"/>
                <a:cs typeface="Times New Roman" panose="02020603050405020304" pitchFamily="18" charset="0"/>
              </a:rPr>
              <a:t>デジタル技術等を活用した地域課題等の解決に向けた提案に関する募集</a:t>
            </a:r>
            <a:r>
              <a:rPr lang="ja-JP" altLang="en-US" sz="1200" dirty="0">
                <a:effectLst/>
                <a:latin typeface="+mn-ea"/>
                <a:cs typeface="Times New Roman" panose="02020603050405020304" pitchFamily="18" charset="0"/>
              </a:rPr>
              <a:t>）</a:t>
            </a:r>
            <a:endParaRPr kumimoji="1" lang="ja-JP" altLang="en-US" sz="1000" kern="0" dirty="0">
              <a:latin typeface="+mn-ea"/>
              <a:cs typeface="+mn-cs"/>
            </a:endParaRPr>
          </a:p>
        </p:txBody>
      </p:sp>
      <p:sp>
        <p:nvSpPr>
          <p:cNvPr id="9" name="正方形/長方形 8">
            <a:extLst>
              <a:ext uri="{FF2B5EF4-FFF2-40B4-BE49-F238E27FC236}">
                <a16:creationId xmlns:a16="http://schemas.microsoft.com/office/drawing/2014/main" id="{0990E0B6-D59E-38C6-739A-43902A2CD8A3}"/>
              </a:ext>
            </a:extLst>
          </p:cNvPr>
          <p:cNvSpPr/>
          <p:nvPr/>
        </p:nvSpPr>
        <p:spPr>
          <a:xfrm>
            <a:off x="417600" y="2006232"/>
            <a:ext cx="1125449" cy="1233751"/>
          </a:xfrm>
          <a:prstGeom prst="rect">
            <a:avLst/>
          </a:prstGeom>
          <a:solidFill>
            <a:schemeClr val="tx1"/>
          </a:solidFill>
          <a:ln w="1905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kern="0">
                <a:solidFill>
                  <a:schemeClr val="bg1"/>
                </a:solidFill>
                <a:latin typeface="+mn-ea"/>
                <a:cs typeface="+mn-cs"/>
              </a:rPr>
              <a:t>参加表明</a:t>
            </a:r>
            <a:endParaRPr kumimoji="1" lang="ja-JP" altLang="en-US" sz="1200" b="0" i="0" u="none" strike="noStrike" kern="0" cap="none" spc="0" normalizeH="0" baseline="0" noProof="0">
              <a:ln>
                <a:noFill/>
              </a:ln>
              <a:solidFill>
                <a:schemeClr val="bg1"/>
              </a:solidFill>
              <a:effectLst/>
              <a:uLnTx/>
              <a:uFillTx/>
              <a:latin typeface="+mn-ea"/>
              <a:cs typeface="+mn-cs"/>
            </a:endParaRPr>
          </a:p>
        </p:txBody>
      </p:sp>
      <p:sp>
        <p:nvSpPr>
          <p:cNvPr id="10" name="正方形/長方形 9">
            <a:extLst>
              <a:ext uri="{FF2B5EF4-FFF2-40B4-BE49-F238E27FC236}">
                <a16:creationId xmlns:a16="http://schemas.microsoft.com/office/drawing/2014/main" id="{27EEFD81-6F23-0AB8-2AAB-9FE147F1D606}"/>
              </a:ext>
            </a:extLst>
          </p:cNvPr>
          <p:cNvSpPr/>
          <p:nvPr/>
        </p:nvSpPr>
        <p:spPr>
          <a:xfrm>
            <a:off x="1657306" y="2006232"/>
            <a:ext cx="5181644" cy="1233751"/>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algn="ctr" fontAlgn="auto">
              <a:spcBef>
                <a:spcPts val="0"/>
              </a:spcBef>
              <a:spcAft>
                <a:spcPts val="0"/>
              </a:spcAft>
            </a:pPr>
            <a:r>
              <a:rPr kumimoji="1" lang="ja-JP" altLang="en-US" sz="1200" kern="0">
                <a:solidFill>
                  <a:prstClr val="black"/>
                </a:solidFill>
                <a:latin typeface="+mn-ea"/>
                <a:cs typeface="+mn-cs"/>
              </a:rPr>
              <a:t>標記案件の提案書に基づく選定の参加について、関心がありますので、</a:t>
            </a:r>
            <a:br>
              <a:rPr kumimoji="1" lang="en-US" altLang="ja-JP" sz="1200" kern="0">
                <a:solidFill>
                  <a:prstClr val="black"/>
                </a:solidFill>
                <a:latin typeface="+mn-ea"/>
                <a:cs typeface="+mn-cs"/>
              </a:rPr>
            </a:br>
            <a:r>
              <a:rPr kumimoji="1" lang="ja-JP" altLang="en-US" sz="1200" kern="0">
                <a:solidFill>
                  <a:prstClr val="black"/>
                </a:solidFill>
                <a:latin typeface="+mn-ea"/>
                <a:cs typeface="+mn-cs"/>
              </a:rPr>
              <a:t>参加表明書を提出します。</a:t>
            </a:r>
          </a:p>
        </p:txBody>
      </p:sp>
      <p:sp>
        <p:nvSpPr>
          <p:cNvPr id="11" name="正方形/長方形 10">
            <a:extLst>
              <a:ext uri="{FF2B5EF4-FFF2-40B4-BE49-F238E27FC236}">
                <a16:creationId xmlns:a16="http://schemas.microsoft.com/office/drawing/2014/main" id="{6CB39270-C7E6-103D-B610-0868E4114306}"/>
              </a:ext>
            </a:extLst>
          </p:cNvPr>
          <p:cNvSpPr/>
          <p:nvPr/>
        </p:nvSpPr>
        <p:spPr>
          <a:xfrm>
            <a:off x="6985189" y="2006232"/>
            <a:ext cx="2387914" cy="1233751"/>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algn="ctr" fontAlgn="auto">
              <a:spcBef>
                <a:spcPts val="0"/>
              </a:spcBef>
              <a:spcAft>
                <a:spcPts val="0"/>
              </a:spcAft>
            </a:pPr>
            <a:r>
              <a:rPr kumimoji="1" lang="ja-JP" altLang="en-US" sz="1200" kern="0" dirty="0">
                <a:solidFill>
                  <a:prstClr val="black"/>
                </a:solidFill>
                <a:latin typeface="+mn-ea"/>
                <a:cs typeface="+mn-cs"/>
              </a:rPr>
              <a:t>令和８年　　月　　日</a:t>
            </a:r>
          </a:p>
        </p:txBody>
      </p:sp>
      <p:graphicFrame>
        <p:nvGraphicFramePr>
          <p:cNvPr id="6" name="表 5">
            <a:extLst>
              <a:ext uri="{FF2B5EF4-FFF2-40B4-BE49-F238E27FC236}">
                <a16:creationId xmlns:a16="http://schemas.microsoft.com/office/drawing/2014/main" id="{02F83949-551E-C6BB-A4CE-DDA224341873}"/>
              </a:ext>
            </a:extLst>
          </p:cNvPr>
          <p:cNvGraphicFramePr>
            <a:graphicFrameLocks noGrp="1"/>
          </p:cNvGraphicFramePr>
          <p:nvPr>
            <p:extLst>
              <p:ext uri="{D42A27DB-BD31-4B8C-83A1-F6EECF244321}">
                <p14:modId xmlns:p14="http://schemas.microsoft.com/office/powerpoint/2010/main" val="453805623"/>
              </p:ext>
            </p:extLst>
          </p:nvPr>
        </p:nvGraphicFramePr>
        <p:xfrm>
          <a:off x="2462138" y="4384928"/>
          <a:ext cx="6910965" cy="1823784"/>
        </p:xfrm>
        <a:graphic>
          <a:graphicData uri="http://schemas.openxmlformats.org/drawingml/2006/table">
            <a:tbl>
              <a:tblPr firstRow="1" bandRow="1">
                <a:tableStyleId>{5C22544A-7EE6-4342-B048-85BDC9FD1C3A}</a:tableStyleId>
              </a:tblPr>
              <a:tblGrid>
                <a:gridCol w="892971">
                  <a:extLst>
                    <a:ext uri="{9D8B030D-6E8A-4147-A177-3AD203B41FA5}">
                      <a16:colId xmlns:a16="http://schemas.microsoft.com/office/drawing/2014/main" val="4221487710"/>
                    </a:ext>
                  </a:extLst>
                </a:gridCol>
                <a:gridCol w="707710">
                  <a:extLst>
                    <a:ext uri="{9D8B030D-6E8A-4147-A177-3AD203B41FA5}">
                      <a16:colId xmlns:a16="http://schemas.microsoft.com/office/drawing/2014/main" val="1151914248"/>
                    </a:ext>
                  </a:extLst>
                </a:gridCol>
                <a:gridCol w="5310284">
                  <a:extLst>
                    <a:ext uri="{9D8B030D-6E8A-4147-A177-3AD203B41FA5}">
                      <a16:colId xmlns:a16="http://schemas.microsoft.com/office/drawing/2014/main" val="4187130120"/>
                    </a:ext>
                  </a:extLst>
                </a:gridCol>
              </a:tblGrid>
              <a:tr h="294672">
                <a:tc>
                  <a:txBody>
                    <a:bodyPr/>
                    <a:lstStyle/>
                    <a:p>
                      <a:r>
                        <a:rPr kumimoji="1" lang="ja-JP" altLang="en-US" sz="1050" b="1" dirty="0">
                          <a:solidFill>
                            <a:schemeClr val="tx1"/>
                          </a:solidFill>
                        </a:rPr>
                        <a:t>＜提出者＞</a:t>
                      </a: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団体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8631932"/>
                  </a:ext>
                </a:extLst>
              </a:tr>
              <a:tr h="294672">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所在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7743770"/>
                  </a:ext>
                </a:extLst>
              </a:tr>
              <a:tr h="326965">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代表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050" b="1" dirty="0">
                          <a:solidFill>
                            <a:schemeClr val="tx1"/>
                          </a:solidFill>
                        </a:rPr>
                        <a:t>（役職名）</a:t>
                      </a:r>
                      <a:endParaRPr kumimoji="1" lang="en-US" altLang="ja-JP" sz="1050" b="1" dirty="0">
                        <a:solidFill>
                          <a:schemeClr val="tx1"/>
                        </a:solidFill>
                      </a:endParaRPr>
                    </a:p>
                    <a:p>
                      <a:r>
                        <a:rPr kumimoji="1" lang="ja-JP" altLang="en-US" sz="1050" b="1" dirty="0">
                          <a:solidFill>
                            <a:schemeClr val="tx1"/>
                          </a:solidFill>
                        </a:rPr>
                        <a:t>（氏　名）</a:t>
                      </a:r>
                      <a:endParaRPr kumimoji="1" lang="en-US" altLang="ja-JP"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3080503"/>
                  </a:ext>
                </a:extLst>
              </a:tr>
              <a:tr h="326965">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担当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050" b="1" dirty="0">
                          <a:solidFill>
                            <a:schemeClr val="tx1"/>
                          </a:solidFill>
                        </a:rPr>
                        <a:t>（役職名）　　　　　　　　　</a:t>
                      </a:r>
                      <a:endParaRPr kumimoji="1" lang="en-US" altLang="ja-JP" sz="1050" b="1" dirty="0">
                        <a:solidFill>
                          <a:schemeClr val="tx1"/>
                        </a:solidFill>
                      </a:endParaRPr>
                    </a:p>
                    <a:p>
                      <a:r>
                        <a:rPr kumimoji="1" lang="ja-JP" altLang="en-US" sz="1050" b="1" dirty="0">
                          <a:solidFill>
                            <a:schemeClr val="tx1"/>
                          </a:solidFill>
                        </a:rPr>
                        <a:t>（氏　名）</a:t>
                      </a:r>
                      <a:endParaRPr kumimoji="1" lang="en-US" altLang="ja-JP" sz="1050" b="1"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1884924"/>
                  </a:ext>
                </a:extLst>
              </a:tr>
              <a:tr h="326965">
                <a:tc>
                  <a:txBody>
                    <a:bodyPr/>
                    <a:lstStyle/>
                    <a:p>
                      <a:endParaRPr kumimoji="1" lang="ja-JP" altLang="en-US" sz="1050" b="1" dirty="0">
                        <a:solidFill>
                          <a:schemeClr val="tx1"/>
                        </a:solidFill>
                      </a:endParaRPr>
                    </a:p>
                  </a:txBody>
                  <a:tcPr anchor="ctr">
                    <a:lnR w="6350" cap="flat" cmpd="sng" algn="ctr">
                      <a:solidFill>
                        <a:schemeClr val="tx1"/>
                      </a:solidFill>
                      <a:prstDash val="solid"/>
                      <a:round/>
                      <a:headEnd type="none" w="med" len="med"/>
                      <a:tailEnd type="none" w="med" len="med"/>
                    </a:lnR>
                    <a:noFill/>
                  </a:tcPr>
                </a:tc>
                <a:tc>
                  <a:txBody>
                    <a:bodyPr/>
                    <a:lstStyle/>
                    <a:p>
                      <a:r>
                        <a:rPr kumimoji="1" lang="ja-JP" altLang="en-US" sz="1050" b="1" dirty="0">
                          <a:solidFill>
                            <a:schemeClr val="tx1"/>
                          </a:solidFill>
                        </a:rPr>
                        <a:t>連絡先</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050" b="1" dirty="0">
                          <a:solidFill>
                            <a:schemeClr val="tx1"/>
                          </a:solidFill>
                        </a:rPr>
                        <a:t>（電話番号）</a:t>
                      </a:r>
                      <a:endParaRPr kumimoji="1" lang="en-US" altLang="ja-JP" sz="1050" b="1" dirty="0">
                        <a:solidFill>
                          <a:schemeClr val="tx1"/>
                        </a:solidFill>
                      </a:endParaRPr>
                    </a:p>
                    <a:p>
                      <a:r>
                        <a:rPr kumimoji="1" lang="ja-JP" altLang="en-US" sz="1050" b="1" dirty="0">
                          <a:solidFill>
                            <a:schemeClr val="tx1"/>
                          </a:solidFill>
                        </a:rPr>
                        <a:t>（電子メール）</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2648791"/>
                  </a:ext>
                </a:extLst>
              </a:tr>
            </a:tbl>
          </a:graphicData>
        </a:graphic>
      </p:graphicFrame>
      <p:sp>
        <p:nvSpPr>
          <p:cNvPr id="13" name="テキスト ボックス 12">
            <a:extLst>
              <a:ext uri="{FF2B5EF4-FFF2-40B4-BE49-F238E27FC236}">
                <a16:creationId xmlns:a16="http://schemas.microsoft.com/office/drawing/2014/main" id="{4317AEF5-BC9D-3BCD-B68F-76392CDF58F4}"/>
              </a:ext>
            </a:extLst>
          </p:cNvPr>
          <p:cNvSpPr txBox="1"/>
          <p:nvPr/>
        </p:nvSpPr>
        <p:spPr bwMode="gray">
          <a:xfrm>
            <a:off x="423886" y="3902567"/>
            <a:ext cx="1399032" cy="209224"/>
          </a:xfrm>
          <a:prstGeom prst="rect">
            <a:avLst/>
          </a:prstGeom>
          <a:noFill/>
        </p:spPr>
        <p:txBody>
          <a:bodyPr wrap="square" lIns="0" tIns="0" rIns="0" bIns="0" rtlCol="0">
            <a:spAutoFit/>
          </a:bodyPr>
          <a:lstStyle/>
          <a:p>
            <a:pPr marL="0" marR="0" indent="0" algn="l" defTabSz="990564" rtl="0" eaLnBrk="1" fontAlgn="auto" latinLnBrk="0" hangingPunct="1">
              <a:lnSpc>
                <a:spcPts val="1800"/>
              </a:lnSpc>
              <a:spcBef>
                <a:spcPts val="0"/>
              </a:spcBef>
              <a:spcAft>
                <a:spcPts val="0"/>
              </a:spcAft>
              <a:buClrTx/>
              <a:buSzPct val="100000"/>
              <a:buFont typeface="Wingdings" panose="05000000000000000000" pitchFamily="2" charset="2"/>
              <a:buNone/>
              <a:tabLst/>
            </a:pPr>
            <a:r>
              <a:rPr kumimoji="1" lang="ja-JP" altLang="en-US" sz="1100" b="1" dirty="0">
                <a:solidFill>
                  <a:prstClr val="black"/>
                </a:solidFill>
                <a:latin typeface="+mn-lt"/>
                <a:cs typeface="+mn-cs"/>
              </a:rPr>
              <a:t>徳島県知事</a:t>
            </a:r>
            <a:r>
              <a:rPr kumimoji="1" lang="ja-JP" altLang="en-US" sz="1100" b="1" i="0" u="none" strike="noStrike" kern="1200" cap="none" spc="0" normalizeH="0" baseline="0" noProof="0" dirty="0">
                <a:ln>
                  <a:noFill/>
                </a:ln>
                <a:solidFill>
                  <a:prstClr val="black"/>
                </a:solidFill>
                <a:effectLst/>
                <a:uLnTx/>
                <a:uFillTx/>
                <a:latin typeface="+mn-lt"/>
                <a:ea typeface="+mn-ea"/>
                <a:cs typeface="+mn-cs"/>
              </a:rPr>
              <a:t>　様</a:t>
            </a:r>
          </a:p>
        </p:txBody>
      </p:sp>
    </p:spTree>
    <p:extLst>
      <p:ext uri="{BB962C8B-B14F-4D97-AF65-F5344CB8AC3E}">
        <p14:creationId xmlns:p14="http://schemas.microsoft.com/office/powerpoint/2010/main" val="2240745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FF578-F8C0-0EFB-20D5-DE569AA292B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FF8DC9-7EA4-CA79-27C4-F19B30CE8B11}"/>
              </a:ext>
            </a:extLst>
          </p:cNvPr>
          <p:cNvSpPr>
            <a:spLocks noGrp="1"/>
          </p:cNvSpPr>
          <p:nvPr>
            <p:ph type="sldNum" sz="quarter" idx="11"/>
          </p:nvPr>
        </p:nvSpPr>
        <p:spPr/>
        <p:txBody>
          <a:bodyPr/>
          <a:lstStyle/>
          <a:p>
            <a:fld id="{AA5FCFE5-FE56-4EF1-80A8-07776887C2A1}" type="slidenum">
              <a:rPr lang="ja-JP" altLang="en-US" smtClean="0"/>
              <a:pPr/>
              <a:t>4</a:t>
            </a:fld>
            <a:endParaRPr lang="ja-JP" altLang="en-US"/>
          </a:p>
        </p:txBody>
      </p:sp>
      <p:sp>
        <p:nvSpPr>
          <p:cNvPr id="4" name="テキスト ボックス 3">
            <a:extLst>
              <a:ext uri="{FF2B5EF4-FFF2-40B4-BE49-F238E27FC236}">
                <a16:creationId xmlns:a16="http://schemas.microsoft.com/office/drawing/2014/main" id="{FC00C537-541B-2B7D-C102-FA1DDCD0F59D}"/>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表紙</a:t>
            </a:r>
          </a:p>
        </p:txBody>
      </p:sp>
      <p:sp>
        <p:nvSpPr>
          <p:cNvPr id="8" name="テキスト ボックス 7">
            <a:extLst>
              <a:ext uri="{FF2B5EF4-FFF2-40B4-BE49-F238E27FC236}">
                <a16:creationId xmlns:a16="http://schemas.microsoft.com/office/drawing/2014/main" id="{54613172-75FE-3B1C-F91C-E39114F85808}"/>
              </a:ext>
            </a:extLst>
          </p:cNvPr>
          <p:cNvSpPr txBox="1"/>
          <p:nvPr/>
        </p:nvSpPr>
        <p:spPr bwMode="gray">
          <a:xfrm>
            <a:off x="1161898" y="1911929"/>
            <a:ext cx="7582204" cy="1892826"/>
          </a:xfrm>
          <a:prstGeom prst="rect">
            <a:avLst/>
          </a:prstGeom>
          <a:noFill/>
        </p:spPr>
        <p:txBody>
          <a:bodyPr wrap="none" lIns="0" tIns="0" rIns="0" bIns="0" rtlCol="0">
            <a:spAutoFit/>
          </a:bodyPr>
          <a:lstStyle/>
          <a:p>
            <a:pPr algn="ctr" defTabSz="990564" fontAlgn="auto">
              <a:spcBef>
                <a:spcPts val="0"/>
              </a:spcBef>
              <a:spcAft>
                <a:spcPts val="0"/>
              </a:spcAft>
              <a:buSzPct val="100000"/>
            </a:pPr>
            <a:r>
              <a:rPr lang="ja-JP" altLang="ja-JP" sz="3200" b="1" kern="100" dirty="0">
                <a:latin typeface="+mn-ea"/>
                <a:cs typeface="Times New Roman" panose="02020603050405020304" pitchFamily="18" charset="0"/>
              </a:rPr>
              <a:t>令和</a:t>
            </a:r>
            <a:r>
              <a:rPr lang="ja-JP" altLang="en-US" sz="3200" b="1" kern="100" dirty="0">
                <a:latin typeface="+mn-ea"/>
                <a:cs typeface="Times New Roman" panose="02020603050405020304" pitchFamily="18" charset="0"/>
              </a:rPr>
              <a:t>８</a:t>
            </a:r>
            <a:r>
              <a:rPr lang="ja-JP" altLang="ja-JP" sz="3200" b="1" kern="100" dirty="0">
                <a:latin typeface="+mn-ea"/>
                <a:cs typeface="Times New Roman" panose="02020603050405020304" pitchFamily="18" charset="0"/>
              </a:rPr>
              <a:t>年度　官民協働プロジェクト推進事業</a:t>
            </a:r>
            <a:endParaRPr lang="en-US" altLang="ja-JP" sz="3200" b="1" kern="100" dirty="0">
              <a:latin typeface="+mn-ea"/>
              <a:cs typeface="Times New Roman" panose="02020603050405020304" pitchFamily="18" charset="0"/>
            </a:endParaRPr>
          </a:p>
          <a:p>
            <a:pPr algn="ctr" defTabSz="990564" fontAlgn="auto">
              <a:spcBef>
                <a:spcPts val="0"/>
              </a:spcBef>
              <a:spcAft>
                <a:spcPts val="0"/>
              </a:spcAft>
              <a:buSzPct val="100000"/>
            </a:pPr>
            <a:endParaRPr lang="en-US" altLang="ja-JP" sz="1500" b="1" kern="100" dirty="0">
              <a:latin typeface="+mn-ea"/>
              <a:cs typeface="Times New Roman" panose="02020603050405020304" pitchFamily="18" charset="0"/>
            </a:endParaRPr>
          </a:p>
          <a:p>
            <a:pPr algn="ctr" defTabSz="990564" fontAlgn="auto">
              <a:spcBef>
                <a:spcPts val="0"/>
              </a:spcBef>
              <a:spcAft>
                <a:spcPts val="0"/>
              </a:spcAft>
              <a:buSzPct val="100000"/>
            </a:pPr>
            <a:r>
              <a:rPr lang="ja-JP" altLang="ja-JP" sz="2000" b="1" dirty="0">
                <a:latin typeface="+mn-ea"/>
                <a:cs typeface="Times New Roman" panose="02020603050405020304" pitchFamily="18" charset="0"/>
              </a:rPr>
              <a:t>デジタル技術等を活用した地域課題等の解決に向けた提案に関する募集</a:t>
            </a:r>
            <a:endParaRPr lang="en-US" altLang="ja-JP" sz="2000" b="1" dirty="0">
              <a:latin typeface="+mn-ea"/>
              <a:cs typeface="Times New Roman" panose="02020603050405020304" pitchFamily="18" charset="0"/>
            </a:endParaRPr>
          </a:p>
          <a:p>
            <a:pPr algn="ctr" defTabSz="990564" fontAlgn="auto">
              <a:spcBef>
                <a:spcPts val="0"/>
              </a:spcBef>
              <a:spcAft>
                <a:spcPts val="0"/>
              </a:spcAft>
              <a:buSzPct val="100000"/>
            </a:pPr>
            <a:endParaRPr kumimoji="1" lang="en-US" altLang="ja-JP" sz="2400" b="1" kern="0" dirty="0">
              <a:latin typeface="+mn-ea"/>
              <a:cs typeface="Times New Roman" panose="02020603050405020304" pitchFamily="18" charset="0"/>
            </a:endParaRPr>
          </a:p>
          <a:p>
            <a:pPr algn="ctr" defTabSz="990564" fontAlgn="auto">
              <a:spcBef>
                <a:spcPts val="0"/>
              </a:spcBef>
              <a:spcAft>
                <a:spcPts val="0"/>
              </a:spcAft>
              <a:buSzPct val="100000"/>
            </a:pPr>
            <a:r>
              <a:rPr kumimoji="1" lang="ja-JP" altLang="en-US" sz="3200" b="1" u="sng" kern="0" dirty="0">
                <a:latin typeface="+mn-ea"/>
              </a:rPr>
              <a:t>企画提案書</a:t>
            </a:r>
          </a:p>
        </p:txBody>
      </p:sp>
      <p:sp>
        <p:nvSpPr>
          <p:cNvPr id="13" name="正方形/長方形 12">
            <a:extLst>
              <a:ext uri="{FF2B5EF4-FFF2-40B4-BE49-F238E27FC236}">
                <a16:creationId xmlns:a16="http://schemas.microsoft.com/office/drawing/2014/main" id="{F916DE94-C065-CBBC-2A1D-7A87F97348D9}"/>
              </a:ext>
            </a:extLst>
          </p:cNvPr>
          <p:cNvSpPr/>
          <p:nvPr/>
        </p:nvSpPr>
        <p:spPr bwMode="gray">
          <a:xfrm>
            <a:off x="1885950" y="5143500"/>
            <a:ext cx="6134100" cy="65722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2400" b="1" i="0" u="none" strike="noStrike" kern="1200" cap="none" spc="0" normalizeH="0" baseline="0" noProof="0" dirty="0">
                <a:ln>
                  <a:noFill/>
                </a:ln>
                <a:solidFill>
                  <a:prstClr val="black"/>
                </a:solidFill>
                <a:effectLst/>
                <a:uLnTx/>
                <a:uFillTx/>
                <a:latin typeface="+mn-lt"/>
                <a:ea typeface="+mn-ea"/>
                <a:cs typeface="+mn-cs"/>
              </a:rPr>
              <a:t>代表団体名：</a:t>
            </a:r>
          </a:p>
        </p:txBody>
      </p:sp>
    </p:spTree>
    <p:extLst>
      <p:ext uri="{BB962C8B-B14F-4D97-AF65-F5344CB8AC3E}">
        <p14:creationId xmlns:p14="http://schemas.microsoft.com/office/powerpoint/2010/main" val="24588119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8B419-9E99-27E3-AB66-D71ACAAC21E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E2F50D-A872-39AA-9DDA-CACC9D8EE5EC}"/>
              </a:ext>
            </a:extLst>
          </p:cNvPr>
          <p:cNvSpPr>
            <a:spLocks noGrp="1"/>
          </p:cNvSpPr>
          <p:nvPr>
            <p:ph type="sldNum" sz="quarter" idx="11"/>
          </p:nvPr>
        </p:nvSpPr>
        <p:spPr/>
        <p:txBody>
          <a:bodyPr/>
          <a:lstStyle/>
          <a:p>
            <a:fld id="{AA5FCFE5-FE56-4EF1-80A8-07776887C2A1}" type="slidenum">
              <a:rPr lang="ja-JP" altLang="en-US" smtClean="0"/>
              <a:pPr/>
              <a:t>5</a:t>
            </a:fld>
            <a:endParaRPr lang="ja-JP" altLang="en-US"/>
          </a:p>
        </p:txBody>
      </p:sp>
      <p:sp>
        <p:nvSpPr>
          <p:cNvPr id="4" name="テキスト ボックス 3">
            <a:extLst>
              <a:ext uri="{FF2B5EF4-FFF2-40B4-BE49-F238E27FC236}">
                <a16:creationId xmlns:a16="http://schemas.microsoft.com/office/drawing/2014/main" id="{0E34233B-E3E8-2651-8231-6B173042A640}"/>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１．基本情報</a:t>
            </a:r>
          </a:p>
        </p:txBody>
      </p:sp>
      <p:sp>
        <p:nvSpPr>
          <p:cNvPr id="16" name="正方形/長方形 15">
            <a:extLst>
              <a:ext uri="{FF2B5EF4-FFF2-40B4-BE49-F238E27FC236}">
                <a16:creationId xmlns:a16="http://schemas.microsoft.com/office/drawing/2014/main" id="{2FFFDF4B-4187-11EA-C90F-CC6DED358896}"/>
              </a:ext>
            </a:extLst>
          </p:cNvPr>
          <p:cNvSpPr/>
          <p:nvPr/>
        </p:nvSpPr>
        <p:spPr>
          <a:xfrm>
            <a:off x="474750" y="686587"/>
            <a:ext cx="8964283" cy="271365"/>
          </a:xfrm>
          <a:prstGeom prst="rect">
            <a:avLst/>
          </a:prstGeom>
          <a:solidFill>
            <a:schemeClr val="accent6"/>
          </a:solidFill>
          <a:ln w="19050" cap="flat" cmpd="sng" algn="ctr">
            <a:solidFill>
              <a:schemeClr val="accent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a:ln>
                  <a:noFill/>
                </a:ln>
                <a:solidFill>
                  <a:prstClr val="white"/>
                </a:solidFill>
                <a:effectLst/>
                <a:uLnTx/>
                <a:uFillTx/>
                <a:latin typeface="+mn-ea"/>
                <a:cs typeface="+mn-cs"/>
              </a:rPr>
              <a:t>代表団体の情報</a:t>
            </a:r>
          </a:p>
        </p:txBody>
      </p:sp>
      <p:sp>
        <p:nvSpPr>
          <p:cNvPr id="19" name="正方形/長方形 18">
            <a:extLst>
              <a:ext uri="{FF2B5EF4-FFF2-40B4-BE49-F238E27FC236}">
                <a16:creationId xmlns:a16="http://schemas.microsoft.com/office/drawing/2014/main" id="{706A1A38-459F-B9C2-87B1-3097C153181D}"/>
              </a:ext>
            </a:extLst>
          </p:cNvPr>
          <p:cNvSpPr/>
          <p:nvPr/>
        </p:nvSpPr>
        <p:spPr>
          <a:xfrm>
            <a:off x="465225" y="1013179"/>
            <a:ext cx="1431525" cy="252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代表団体名</a:t>
            </a:r>
          </a:p>
        </p:txBody>
      </p:sp>
      <p:sp>
        <p:nvSpPr>
          <p:cNvPr id="25" name="正方形/長方形 24">
            <a:extLst>
              <a:ext uri="{FF2B5EF4-FFF2-40B4-BE49-F238E27FC236}">
                <a16:creationId xmlns:a16="http://schemas.microsoft.com/office/drawing/2014/main" id="{CA5819E4-580F-3BAD-5E93-C1AFF459521B}"/>
              </a:ext>
            </a:extLst>
          </p:cNvPr>
          <p:cNvSpPr/>
          <p:nvPr/>
        </p:nvSpPr>
        <p:spPr>
          <a:xfrm>
            <a:off x="1987033" y="1013179"/>
            <a:ext cx="7452000" cy="252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20" name="正方形/長方形 19">
            <a:extLst>
              <a:ext uri="{FF2B5EF4-FFF2-40B4-BE49-F238E27FC236}">
                <a16:creationId xmlns:a16="http://schemas.microsoft.com/office/drawing/2014/main" id="{F2AD4F77-39EC-90C2-5D62-7FADC9607ADE}"/>
              </a:ext>
            </a:extLst>
          </p:cNvPr>
          <p:cNvSpPr/>
          <p:nvPr/>
        </p:nvSpPr>
        <p:spPr>
          <a:xfrm>
            <a:off x="465225" y="1313188"/>
            <a:ext cx="1431525"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代表者名</a:t>
            </a:r>
          </a:p>
        </p:txBody>
      </p:sp>
      <p:sp>
        <p:nvSpPr>
          <p:cNvPr id="26" name="正方形/長方形 25">
            <a:extLst>
              <a:ext uri="{FF2B5EF4-FFF2-40B4-BE49-F238E27FC236}">
                <a16:creationId xmlns:a16="http://schemas.microsoft.com/office/drawing/2014/main" id="{9DD028A8-46B9-AE5B-E265-B383908B4413}"/>
              </a:ext>
            </a:extLst>
          </p:cNvPr>
          <p:cNvSpPr/>
          <p:nvPr/>
        </p:nvSpPr>
        <p:spPr>
          <a:xfrm>
            <a:off x="1987033" y="1313187"/>
            <a:ext cx="7452000"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23" name="正方形/長方形 22">
            <a:extLst>
              <a:ext uri="{FF2B5EF4-FFF2-40B4-BE49-F238E27FC236}">
                <a16:creationId xmlns:a16="http://schemas.microsoft.com/office/drawing/2014/main" id="{9A7A1CA0-690D-CF64-CC62-0ACEF8B83E39}"/>
              </a:ext>
            </a:extLst>
          </p:cNvPr>
          <p:cNvSpPr/>
          <p:nvPr/>
        </p:nvSpPr>
        <p:spPr>
          <a:xfrm>
            <a:off x="465225" y="2258861"/>
            <a:ext cx="1431525"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所在地</a:t>
            </a:r>
          </a:p>
        </p:txBody>
      </p:sp>
      <p:sp>
        <p:nvSpPr>
          <p:cNvPr id="27" name="正方形/長方形 26">
            <a:extLst>
              <a:ext uri="{FF2B5EF4-FFF2-40B4-BE49-F238E27FC236}">
                <a16:creationId xmlns:a16="http://schemas.microsoft.com/office/drawing/2014/main" id="{049C657D-EC0C-0E72-5A29-9E3A3AB94B44}"/>
              </a:ext>
            </a:extLst>
          </p:cNvPr>
          <p:cNvSpPr/>
          <p:nvPr/>
        </p:nvSpPr>
        <p:spPr>
          <a:xfrm>
            <a:off x="1987033" y="2258860"/>
            <a:ext cx="7452000"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21" name="正方形/長方形 20">
            <a:extLst>
              <a:ext uri="{FF2B5EF4-FFF2-40B4-BE49-F238E27FC236}">
                <a16:creationId xmlns:a16="http://schemas.microsoft.com/office/drawing/2014/main" id="{3AC6F7C4-029E-1BDC-39DF-467812880DF2}"/>
              </a:ext>
            </a:extLst>
          </p:cNvPr>
          <p:cNvSpPr/>
          <p:nvPr/>
        </p:nvSpPr>
        <p:spPr>
          <a:xfrm>
            <a:off x="465225" y="2966882"/>
            <a:ext cx="1431525"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担当部署名</a:t>
            </a:r>
          </a:p>
        </p:txBody>
      </p:sp>
      <p:sp>
        <p:nvSpPr>
          <p:cNvPr id="29" name="正方形/長方形 28">
            <a:extLst>
              <a:ext uri="{FF2B5EF4-FFF2-40B4-BE49-F238E27FC236}">
                <a16:creationId xmlns:a16="http://schemas.microsoft.com/office/drawing/2014/main" id="{BD58777B-E5CB-8738-26F4-4FA0691E5C5C}"/>
              </a:ext>
            </a:extLst>
          </p:cNvPr>
          <p:cNvSpPr/>
          <p:nvPr/>
        </p:nvSpPr>
        <p:spPr>
          <a:xfrm>
            <a:off x="1987033" y="2966879"/>
            <a:ext cx="7452000"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28" name="正方形/長方形 27">
            <a:extLst>
              <a:ext uri="{FF2B5EF4-FFF2-40B4-BE49-F238E27FC236}">
                <a16:creationId xmlns:a16="http://schemas.microsoft.com/office/drawing/2014/main" id="{88DCCB9A-75CF-E923-A076-C41D7529F97F}"/>
              </a:ext>
            </a:extLst>
          </p:cNvPr>
          <p:cNvSpPr/>
          <p:nvPr/>
        </p:nvSpPr>
        <p:spPr>
          <a:xfrm>
            <a:off x="1987033" y="2558868"/>
            <a:ext cx="7452000" cy="360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3" name="正方形/長方形 2">
            <a:extLst>
              <a:ext uri="{FF2B5EF4-FFF2-40B4-BE49-F238E27FC236}">
                <a16:creationId xmlns:a16="http://schemas.microsoft.com/office/drawing/2014/main" id="{C7CBE340-9D5E-1DF0-1871-9B745740B6D8}"/>
              </a:ext>
            </a:extLst>
          </p:cNvPr>
          <p:cNvSpPr/>
          <p:nvPr/>
        </p:nvSpPr>
        <p:spPr>
          <a:xfrm>
            <a:off x="465225" y="2558871"/>
            <a:ext cx="1431525" cy="360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a:solidFill>
                  <a:schemeClr val="bg1"/>
                </a:solidFill>
                <a:latin typeface="+mn-ea"/>
                <a:cs typeface="+mn-cs"/>
              </a:rPr>
              <a:t>ホームページ等</a:t>
            </a:r>
          </a:p>
        </p:txBody>
      </p:sp>
      <p:sp>
        <p:nvSpPr>
          <p:cNvPr id="22" name="正方形/長方形 21">
            <a:extLst>
              <a:ext uri="{FF2B5EF4-FFF2-40B4-BE49-F238E27FC236}">
                <a16:creationId xmlns:a16="http://schemas.microsoft.com/office/drawing/2014/main" id="{7AC2C6D6-B926-F0EE-195C-1AE8FBE918D6}"/>
              </a:ext>
            </a:extLst>
          </p:cNvPr>
          <p:cNvSpPr/>
          <p:nvPr/>
        </p:nvSpPr>
        <p:spPr>
          <a:xfrm>
            <a:off x="465225" y="3266890"/>
            <a:ext cx="1431525"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a:solidFill>
                  <a:schemeClr val="bg1"/>
                </a:solidFill>
                <a:latin typeface="+mn-ea"/>
                <a:cs typeface="+mn-cs"/>
              </a:rPr>
              <a:t>担当者名</a:t>
            </a:r>
          </a:p>
        </p:txBody>
      </p:sp>
      <p:sp>
        <p:nvSpPr>
          <p:cNvPr id="6" name="正方形/長方形 5">
            <a:extLst>
              <a:ext uri="{FF2B5EF4-FFF2-40B4-BE49-F238E27FC236}">
                <a16:creationId xmlns:a16="http://schemas.microsoft.com/office/drawing/2014/main" id="{FB995E14-DA57-2F39-5501-F461EDF11C7E}"/>
              </a:ext>
            </a:extLst>
          </p:cNvPr>
          <p:cNvSpPr/>
          <p:nvPr/>
        </p:nvSpPr>
        <p:spPr>
          <a:xfrm>
            <a:off x="1987033" y="3266887"/>
            <a:ext cx="7452000"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24" name="正方形/長方形 23">
            <a:extLst>
              <a:ext uri="{FF2B5EF4-FFF2-40B4-BE49-F238E27FC236}">
                <a16:creationId xmlns:a16="http://schemas.microsoft.com/office/drawing/2014/main" id="{1E3BFFBC-4F56-AE93-D052-ADFD7A0D9C77}"/>
              </a:ext>
            </a:extLst>
          </p:cNvPr>
          <p:cNvSpPr/>
          <p:nvPr/>
        </p:nvSpPr>
        <p:spPr>
          <a:xfrm>
            <a:off x="465225" y="3566893"/>
            <a:ext cx="1431525"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電話番号</a:t>
            </a:r>
          </a:p>
        </p:txBody>
      </p:sp>
      <p:sp>
        <p:nvSpPr>
          <p:cNvPr id="30" name="正方形/長方形 29">
            <a:extLst>
              <a:ext uri="{FF2B5EF4-FFF2-40B4-BE49-F238E27FC236}">
                <a16:creationId xmlns:a16="http://schemas.microsoft.com/office/drawing/2014/main" id="{C48C3D67-E1C8-297D-4330-4F4C9C9E1877}"/>
              </a:ext>
            </a:extLst>
          </p:cNvPr>
          <p:cNvSpPr/>
          <p:nvPr/>
        </p:nvSpPr>
        <p:spPr>
          <a:xfrm>
            <a:off x="1987033" y="3566893"/>
            <a:ext cx="2196000"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9" name="正方形/長方形 8">
            <a:extLst>
              <a:ext uri="{FF2B5EF4-FFF2-40B4-BE49-F238E27FC236}">
                <a16:creationId xmlns:a16="http://schemas.microsoft.com/office/drawing/2014/main" id="{8E1FB5DD-77CC-414D-D62B-DB6F6B2FA8AA}"/>
              </a:ext>
            </a:extLst>
          </p:cNvPr>
          <p:cNvSpPr/>
          <p:nvPr/>
        </p:nvSpPr>
        <p:spPr>
          <a:xfrm>
            <a:off x="4264318" y="3566961"/>
            <a:ext cx="1431525"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メールアドレス</a:t>
            </a:r>
          </a:p>
        </p:txBody>
      </p:sp>
      <p:sp>
        <p:nvSpPr>
          <p:cNvPr id="10" name="正方形/長方形 9">
            <a:extLst>
              <a:ext uri="{FF2B5EF4-FFF2-40B4-BE49-F238E27FC236}">
                <a16:creationId xmlns:a16="http://schemas.microsoft.com/office/drawing/2014/main" id="{88A0A0CF-6CE2-FCD0-7BBC-F21B7F2C5274}"/>
              </a:ext>
            </a:extLst>
          </p:cNvPr>
          <p:cNvSpPr/>
          <p:nvPr/>
        </p:nvSpPr>
        <p:spPr>
          <a:xfrm>
            <a:off x="5767033" y="3566961"/>
            <a:ext cx="3672000"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12" name="正方形/長方形 11">
            <a:extLst>
              <a:ext uri="{FF2B5EF4-FFF2-40B4-BE49-F238E27FC236}">
                <a16:creationId xmlns:a16="http://schemas.microsoft.com/office/drawing/2014/main" id="{D8C891FC-21A4-A842-339C-7A8135F3C5DB}"/>
              </a:ext>
            </a:extLst>
          </p:cNvPr>
          <p:cNvSpPr/>
          <p:nvPr/>
        </p:nvSpPr>
        <p:spPr>
          <a:xfrm>
            <a:off x="465225" y="1613196"/>
            <a:ext cx="1431525" cy="597656"/>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団体概要</a:t>
            </a:r>
          </a:p>
        </p:txBody>
      </p:sp>
      <p:sp>
        <p:nvSpPr>
          <p:cNvPr id="14" name="正方形/長方形 13">
            <a:extLst>
              <a:ext uri="{FF2B5EF4-FFF2-40B4-BE49-F238E27FC236}">
                <a16:creationId xmlns:a16="http://schemas.microsoft.com/office/drawing/2014/main" id="{5387C5B9-85F7-AE11-0E62-DE390E4565FC}"/>
              </a:ext>
            </a:extLst>
          </p:cNvPr>
          <p:cNvSpPr/>
          <p:nvPr/>
        </p:nvSpPr>
        <p:spPr>
          <a:xfrm>
            <a:off x="1987033" y="1613195"/>
            <a:ext cx="7452000" cy="597656"/>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Tree>
    <p:extLst>
      <p:ext uri="{BB962C8B-B14F-4D97-AF65-F5344CB8AC3E}">
        <p14:creationId xmlns:p14="http://schemas.microsoft.com/office/powerpoint/2010/main" val="3194224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812BF-41DC-D424-8B9E-885A2AE832C2}"/>
            </a:ext>
          </a:extLst>
        </p:cNvPr>
        <p:cNvGrpSpPr/>
        <p:nvPr/>
      </p:nvGrpSpPr>
      <p:grpSpPr>
        <a:xfrm>
          <a:off x="0" y="0"/>
          <a:ext cx="0" cy="0"/>
          <a:chOff x="0" y="0"/>
          <a:chExt cx="0" cy="0"/>
        </a:xfrm>
      </p:grpSpPr>
      <p:sp>
        <p:nvSpPr>
          <p:cNvPr id="36" name="正方形/長方形 35">
            <a:extLst>
              <a:ext uri="{FF2B5EF4-FFF2-40B4-BE49-F238E27FC236}">
                <a16:creationId xmlns:a16="http://schemas.microsoft.com/office/drawing/2014/main" id="{B916A719-7954-867E-9ACB-127D98C47C8B}"/>
              </a:ext>
            </a:extLst>
          </p:cNvPr>
          <p:cNvSpPr/>
          <p:nvPr/>
        </p:nvSpPr>
        <p:spPr>
          <a:xfrm>
            <a:off x="465970" y="521827"/>
            <a:ext cx="8964283" cy="317618"/>
          </a:xfrm>
          <a:prstGeom prst="rect">
            <a:avLst/>
          </a:prstGeom>
          <a:solidFill>
            <a:schemeClr val="accent3"/>
          </a:solidFill>
          <a:ln w="19050" cap="flat" cmpd="sng" algn="ctr">
            <a:solidFill>
              <a:schemeClr val="accent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kern="0" dirty="0">
                <a:solidFill>
                  <a:prstClr val="white"/>
                </a:solidFill>
                <a:latin typeface="+mn-ea"/>
                <a:cs typeface="+mn-cs"/>
              </a:rPr>
              <a:t>構成団体の情報</a:t>
            </a:r>
            <a:endParaRPr kumimoji="1" lang="ja-JP" altLang="en-US" sz="1200" b="1" i="0" u="none" strike="noStrike" kern="0" cap="none" spc="0" normalizeH="0" baseline="0" noProof="0" dirty="0">
              <a:ln>
                <a:noFill/>
              </a:ln>
              <a:solidFill>
                <a:prstClr val="white"/>
              </a:solidFill>
              <a:effectLst/>
              <a:uLnTx/>
              <a:uFillTx/>
              <a:latin typeface="+mn-ea"/>
              <a:cs typeface="+mn-cs"/>
            </a:endParaRPr>
          </a:p>
        </p:txBody>
      </p:sp>
      <p:sp>
        <p:nvSpPr>
          <p:cNvPr id="2" name="Slide Number Placeholder 1">
            <a:extLst>
              <a:ext uri="{FF2B5EF4-FFF2-40B4-BE49-F238E27FC236}">
                <a16:creationId xmlns:a16="http://schemas.microsoft.com/office/drawing/2014/main" id="{DD3D92C9-1368-C82B-7CB8-7E25742CD76E}"/>
              </a:ext>
            </a:extLst>
          </p:cNvPr>
          <p:cNvSpPr>
            <a:spLocks noGrp="1"/>
          </p:cNvSpPr>
          <p:nvPr>
            <p:ph type="sldNum" sz="quarter" idx="11"/>
          </p:nvPr>
        </p:nvSpPr>
        <p:spPr/>
        <p:txBody>
          <a:bodyPr/>
          <a:lstStyle/>
          <a:p>
            <a:fld id="{AA5FCFE5-FE56-4EF1-80A8-07776887C2A1}" type="slidenum">
              <a:rPr lang="ja-JP" altLang="en-US" smtClean="0"/>
              <a:pPr/>
              <a:t>6</a:t>
            </a:fld>
            <a:endParaRPr lang="ja-JP" altLang="en-US"/>
          </a:p>
        </p:txBody>
      </p:sp>
      <p:sp>
        <p:nvSpPr>
          <p:cNvPr id="15" name="テキスト ボックス 14">
            <a:extLst>
              <a:ext uri="{FF2B5EF4-FFF2-40B4-BE49-F238E27FC236}">
                <a16:creationId xmlns:a16="http://schemas.microsoft.com/office/drawing/2014/main" id="{13F7B136-0DA7-5FBA-A5D7-9F1838669877}"/>
              </a:ext>
            </a:extLst>
          </p:cNvPr>
          <p:cNvSpPr txBox="1"/>
          <p:nvPr/>
        </p:nvSpPr>
        <p:spPr>
          <a:xfrm>
            <a:off x="153988" y="125527"/>
            <a:ext cx="9309608" cy="400110"/>
          </a:xfrm>
          <a:prstGeom prst="rect">
            <a:avLst/>
          </a:prstGeom>
          <a:noFill/>
        </p:spPr>
        <p:txBody>
          <a:bodyPr wrap="square" rtlCol="0">
            <a:spAutoFit/>
          </a:bodyPr>
          <a:lstStyle/>
          <a:p>
            <a:pPr fontAlgn="auto">
              <a:spcBef>
                <a:spcPts val="0"/>
              </a:spcBef>
              <a:spcAft>
                <a:spcPts val="0"/>
              </a:spcAft>
            </a:pPr>
            <a:r>
              <a:rPr kumimoji="1" lang="ja-JP" altLang="en-US" sz="2000" b="1">
                <a:solidFill>
                  <a:prstClr val="white"/>
                </a:solidFill>
                <a:latin typeface="Meiryo UI" panose="020B0604030504040204" pitchFamily="50" charset="-128"/>
                <a:ea typeface="Meiryo UI" panose="020B0604030504040204" pitchFamily="50" charset="-128"/>
                <a:cs typeface="+mn-cs"/>
              </a:rPr>
              <a:t>提案フォーマット案</a:t>
            </a:r>
          </a:p>
        </p:txBody>
      </p:sp>
      <p:sp>
        <p:nvSpPr>
          <p:cNvPr id="4" name="テキスト ボックス 3">
            <a:extLst>
              <a:ext uri="{FF2B5EF4-FFF2-40B4-BE49-F238E27FC236}">
                <a16:creationId xmlns:a16="http://schemas.microsoft.com/office/drawing/2014/main" id="{DF2990AF-6FC9-491A-D44D-F2502F7B9E60}"/>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１．基本情報</a:t>
            </a:r>
          </a:p>
        </p:txBody>
      </p:sp>
      <p:sp>
        <p:nvSpPr>
          <p:cNvPr id="19" name="正方形/長方形 18">
            <a:extLst>
              <a:ext uri="{FF2B5EF4-FFF2-40B4-BE49-F238E27FC236}">
                <a16:creationId xmlns:a16="http://schemas.microsoft.com/office/drawing/2014/main" id="{BAC39E94-7946-FDA2-4E3F-44FB6E3D7D3D}"/>
              </a:ext>
            </a:extLst>
          </p:cNvPr>
          <p:cNvSpPr/>
          <p:nvPr/>
        </p:nvSpPr>
        <p:spPr>
          <a:xfrm>
            <a:off x="856735" y="906085"/>
            <a:ext cx="1369070" cy="252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団体名</a:t>
            </a:r>
          </a:p>
        </p:txBody>
      </p:sp>
      <p:sp>
        <p:nvSpPr>
          <p:cNvPr id="25" name="正方形/長方形 24">
            <a:extLst>
              <a:ext uri="{FF2B5EF4-FFF2-40B4-BE49-F238E27FC236}">
                <a16:creationId xmlns:a16="http://schemas.microsoft.com/office/drawing/2014/main" id="{A45C4D1A-78B9-981C-4C2B-D4B27F5A0CCC}"/>
              </a:ext>
            </a:extLst>
          </p:cNvPr>
          <p:cNvSpPr/>
          <p:nvPr/>
        </p:nvSpPr>
        <p:spPr>
          <a:xfrm>
            <a:off x="2312149" y="906085"/>
            <a:ext cx="7126884" cy="252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dirty="0">
              <a:solidFill>
                <a:prstClr val="black"/>
              </a:solidFill>
              <a:latin typeface="+mn-ea"/>
              <a:cs typeface="+mn-cs"/>
            </a:endParaRPr>
          </a:p>
        </p:txBody>
      </p:sp>
      <p:sp>
        <p:nvSpPr>
          <p:cNvPr id="20" name="正方形/長方形 19">
            <a:extLst>
              <a:ext uri="{FF2B5EF4-FFF2-40B4-BE49-F238E27FC236}">
                <a16:creationId xmlns:a16="http://schemas.microsoft.com/office/drawing/2014/main" id="{0D83E080-46DD-E226-9B61-2D4810BD6A9A}"/>
              </a:ext>
            </a:extLst>
          </p:cNvPr>
          <p:cNvSpPr/>
          <p:nvPr/>
        </p:nvSpPr>
        <p:spPr>
          <a:xfrm>
            <a:off x="856735" y="1206094"/>
            <a:ext cx="1369070"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代表者名</a:t>
            </a:r>
          </a:p>
        </p:txBody>
      </p:sp>
      <p:sp>
        <p:nvSpPr>
          <p:cNvPr id="26" name="正方形/長方形 25">
            <a:extLst>
              <a:ext uri="{FF2B5EF4-FFF2-40B4-BE49-F238E27FC236}">
                <a16:creationId xmlns:a16="http://schemas.microsoft.com/office/drawing/2014/main" id="{62B8B9E4-934D-A848-40DA-68A84A9A7F32}"/>
              </a:ext>
            </a:extLst>
          </p:cNvPr>
          <p:cNvSpPr/>
          <p:nvPr/>
        </p:nvSpPr>
        <p:spPr>
          <a:xfrm>
            <a:off x="2312149" y="1206093"/>
            <a:ext cx="7126884"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3" name="正方形/長方形 22">
            <a:extLst>
              <a:ext uri="{FF2B5EF4-FFF2-40B4-BE49-F238E27FC236}">
                <a16:creationId xmlns:a16="http://schemas.microsoft.com/office/drawing/2014/main" id="{980B277A-EB42-5740-81B6-503C03015435}"/>
              </a:ext>
            </a:extLst>
          </p:cNvPr>
          <p:cNvSpPr/>
          <p:nvPr/>
        </p:nvSpPr>
        <p:spPr>
          <a:xfrm>
            <a:off x="856735" y="2151767"/>
            <a:ext cx="1369070"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所在地</a:t>
            </a:r>
          </a:p>
        </p:txBody>
      </p:sp>
      <p:sp>
        <p:nvSpPr>
          <p:cNvPr id="27" name="正方形/長方形 26">
            <a:extLst>
              <a:ext uri="{FF2B5EF4-FFF2-40B4-BE49-F238E27FC236}">
                <a16:creationId xmlns:a16="http://schemas.microsoft.com/office/drawing/2014/main" id="{010E7F8A-1711-B87C-BAEC-6778A9E9CF93}"/>
              </a:ext>
            </a:extLst>
          </p:cNvPr>
          <p:cNvSpPr/>
          <p:nvPr/>
        </p:nvSpPr>
        <p:spPr>
          <a:xfrm>
            <a:off x="2312149" y="2151766"/>
            <a:ext cx="7126884"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1" name="正方形/長方形 20">
            <a:extLst>
              <a:ext uri="{FF2B5EF4-FFF2-40B4-BE49-F238E27FC236}">
                <a16:creationId xmlns:a16="http://schemas.microsoft.com/office/drawing/2014/main" id="{F83D930A-A6B5-4EBC-0987-5352974A2BEA}"/>
              </a:ext>
            </a:extLst>
          </p:cNvPr>
          <p:cNvSpPr/>
          <p:nvPr/>
        </p:nvSpPr>
        <p:spPr>
          <a:xfrm>
            <a:off x="856735" y="2859788"/>
            <a:ext cx="1369070"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担当部署名</a:t>
            </a:r>
          </a:p>
        </p:txBody>
      </p:sp>
      <p:sp>
        <p:nvSpPr>
          <p:cNvPr id="29" name="正方形/長方形 28">
            <a:extLst>
              <a:ext uri="{FF2B5EF4-FFF2-40B4-BE49-F238E27FC236}">
                <a16:creationId xmlns:a16="http://schemas.microsoft.com/office/drawing/2014/main" id="{2EB90C9C-83E3-EBB7-88EF-42F26E8A340B}"/>
              </a:ext>
            </a:extLst>
          </p:cNvPr>
          <p:cNvSpPr/>
          <p:nvPr/>
        </p:nvSpPr>
        <p:spPr>
          <a:xfrm>
            <a:off x="2312149" y="2859785"/>
            <a:ext cx="7126884"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8" name="正方形/長方形 27">
            <a:extLst>
              <a:ext uri="{FF2B5EF4-FFF2-40B4-BE49-F238E27FC236}">
                <a16:creationId xmlns:a16="http://schemas.microsoft.com/office/drawing/2014/main" id="{2749B06A-79A0-BC59-9BC1-6116E8820986}"/>
              </a:ext>
            </a:extLst>
          </p:cNvPr>
          <p:cNvSpPr/>
          <p:nvPr/>
        </p:nvSpPr>
        <p:spPr>
          <a:xfrm>
            <a:off x="2312149" y="2451774"/>
            <a:ext cx="7126884" cy="360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3" name="正方形/長方形 2">
            <a:extLst>
              <a:ext uri="{FF2B5EF4-FFF2-40B4-BE49-F238E27FC236}">
                <a16:creationId xmlns:a16="http://schemas.microsoft.com/office/drawing/2014/main" id="{6DBCBD8C-A037-B47C-C56B-B7C736A015DC}"/>
              </a:ext>
            </a:extLst>
          </p:cNvPr>
          <p:cNvSpPr/>
          <p:nvPr/>
        </p:nvSpPr>
        <p:spPr>
          <a:xfrm>
            <a:off x="856735" y="2451777"/>
            <a:ext cx="1369070" cy="360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ホームページ等</a:t>
            </a:r>
          </a:p>
        </p:txBody>
      </p:sp>
      <p:sp>
        <p:nvSpPr>
          <p:cNvPr id="22" name="正方形/長方形 21">
            <a:extLst>
              <a:ext uri="{FF2B5EF4-FFF2-40B4-BE49-F238E27FC236}">
                <a16:creationId xmlns:a16="http://schemas.microsoft.com/office/drawing/2014/main" id="{1879E75C-CCAA-5413-87BB-776FE54DAE61}"/>
              </a:ext>
            </a:extLst>
          </p:cNvPr>
          <p:cNvSpPr/>
          <p:nvPr/>
        </p:nvSpPr>
        <p:spPr>
          <a:xfrm>
            <a:off x="856735" y="3159796"/>
            <a:ext cx="1369070"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a:solidFill>
                  <a:schemeClr val="bg1"/>
                </a:solidFill>
                <a:latin typeface="+mn-ea"/>
                <a:cs typeface="+mn-cs"/>
              </a:rPr>
              <a:t>担当者名</a:t>
            </a:r>
          </a:p>
        </p:txBody>
      </p:sp>
      <p:sp>
        <p:nvSpPr>
          <p:cNvPr id="6" name="正方形/長方形 5">
            <a:extLst>
              <a:ext uri="{FF2B5EF4-FFF2-40B4-BE49-F238E27FC236}">
                <a16:creationId xmlns:a16="http://schemas.microsoft.com/office/drawing/2014/main" id="{F47F03C1-D3FC-593A-CB4D-7BD1A6D1BB64}"/>
              </a:ext>
            </a:extLst>
          </p:cNvPr>
          <p:cNvSpPr/>
          <p:nvPr/>
        </p:nvSpPr>
        <p:spPr>
          <a:xfrm>
            <a:off x="2312149" y="3159793"/>
            <a:ext cx="7126884"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4" name="正方形/長方形 23">
            <a:extLst>
              <a:ext uri="{FF2B5EF4-FFF2-40B4-BE49-F238E27FC236}">
                <a16:creationId xmlns:a16="http://schemas.microsoft.com/office/drawing/2014/main" id="{B09A4C30-BE56-82C6-84CA-CF931B1EB536}"/>
              </a:ext>
            </a:extLst>
          </p:cNvPr>
          <p:cNvSpPr/>
          <p:nvPr/>
        </p:nvSpPr>
        <p:spPr>
          <a:xfrm>
            <a:off x="856735" y="3459799"/>
            <a:ext cx="1369070"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電話番号</a:t>
            </a:r>
          </a:p>
        </p:txBody>
      </p:sp>
      <p:sp>
        <p:nvSpPr>
          <p:cNvPr id="30" name="正方形/長方形 29">
            <a:extLst>
              <a:ext uri="{FF2B5EF4-FFF2-40B4-BE49-F238E27FC236}">
                <a16:creationId xmlns:a16="http://schemas.microsoft.com/office/drawing/2014/main" id="{5E404A98-2032-4E37-6598-A6FB08CDF362}"/>
              </a:ext>
            </a:extLst>
          </p:cNvPr>
          <p:cNvSpPr/>
          <p:nvPr/>
        </p:nvSpPr>
        <p:spPr>
          <a:xfrm>
            <a:off x="2312149" y="3459799"/>
            <a:ext cx="2100193"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9" name="正方形/長方形 8">
            <a:extLst>
              <a:ext uri="{FF2B5EF4-FFF2-40B4-BE49-F238E27FC236}">
                <a16:creationId xmlns:a16="http://schemas.microsoft.com/office/drawing/2014/main" id="{57C8DF75-79D2-8FDD-2642-8D4EB0F278DA}"/>
              </a:ext>
            </a:extLst>
          </p:cNvPr>
          <p:cNvSpPr/>
          <p:nvPr/>
        </p:nvSpPr>
        <p:spPr>
          <a:xfrm>
            <a:off x="4490081" y="3459867"/>
            <a:ext cx="1369070"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メールアドレス</a:t>
            </a:r>
          </a:p>
        </p:txBody>
      </p:sp>
      <p:sp>
        <p:nvSpPr>
          <p:cNvPr id="10" name="正方形/長方形 9">
            <a:extLst>
              <a:ext uri="{FF2B5EF4-FFF2-40B4-BE49-F238E27FC236}">
                <a16:creationId xmlns:a16="http://schemas.microsoft.com/office/drawing/2014/main" id="{050A9BF2-A6D5-81AD-721E-0A27205F7F89}"/>
              </a:ext>
            </a:extLst>
          </p:cNvPr>
          <p:cNvSpPr/>
          <p:nvPr/>
        </p:nvSpPr>
        <p:spPr>
          <a:xfrm>
            <a:off x="5927235" y="3459867"/>
            <a:ext cx="3511798"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12" name="正方形/長方形 11">
            <a:extLst>
              <a:ext uri="{FF2B5EF4-FFF2-40B4-BE49-F238E27FC236}">
                <a16:creationId xmlns:a16="http://schemas.microsoft.com/office/drawing/2014/main" id="{65C077A9-A079-C7EC-7A9C-C031F8EC61A1}"/>
              </a:ext>
            </a:extLst>
          </p:cNvPr>
          <p:cNvSpPr/>
          <p:nvPr/>
        </p:nvSpPr>
        <p:spPr>
          <a:xfrm>
            <a:off x="856735" y="1506102"/>
            <a:ext cx="1369070" cy="597656"/>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団体概要</a:t>
            </a:r>
          </a:p>
        </p:txBody>
      </p:sp>
      <p:sp>
        <p:nvSpPr>
          <p:cNvPr id="14" name="正方形/長方形 13">
            <a:extLst>
              <a:ext uri="{FF2B5EF4-FFF2-40B4-BE49-F238E27FC236}">
                <a16:creationId xmlns:a16="http://schemas.microsoft.com/office/drawing/2014/main" id="{18F0694A-9640-4201-5E39-184D06DE1600}"/>
              </a:ext>
            </a:extLst>
          </p:cNvPr>
          <p:cNvSpPr/>
          <p:nvPr/>
        </p:nvSpPr>
        <p:spPr>
          <a:xfrm>
            <a:off x="2312149" y="1506101"/>
            <a:ext cx="7126884" cy="597656"/>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8" name="正方形/長方形 7">
            <a:extLst>
              <a:ext uri="{FF2B5EF4-FFF2-40B4-BE49-F238E27FC236}">
                <a16:creationId xmlns:a16="http://schemas.microsoft.com/office/drawing/2014/main" id="{E89393AF-DEC1-E4DF-C111-1F51DD9BA366}"/>
              </a:ext>
            </a:extLst>
          </p:cNvPr>
          <p:cNvSpPr/>
          <p:nvPr/>
        </p:nvSpPr>
        <p:spPr>
          <a:xfrm>
            <a:off x="856735" y="3770930"/>
            <a:ext cx="1369070" cy="252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団体名</a:t>
            </a:r>
          </a:p>
        </p:txBody>
      </p:sp>
      <p:sp>
        <p:nvSpPr>
          <p:cNvPr id="11" name="正方形/長方形 10">
            <a:extLst>
              <a:ext uri="{FF2B5EF4-FFF2-40B4-BE49-F238E27FC236}">
                <a16:creationId xmlns:a16="http://schemas.microsoft.com/office/drawing/2014/main" id="{FD83E224-AE05-C698-339E-C84799937A45}"/>
              </a:ext>
            </a:extLst>
          </p:cNvPr>
          <p:cNvSpPr/>
          <p:nvPr/>
        </p:nvSpPr>
        <p:spPr>
          <a:xfrm>
            <a:off x="2312149" y="3770930"/>
            <a:ext cx="7126884" cy="252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13" name="正方形/長方形 12">
            <a:extLst>
              <a:ext uri="{FF2B5EF4-FFF2-40B4-BE49-F238E27FC236}">
                <a16:creationId xmlns:a16="http://schemas.microsoft.com/office/drawing/2014/main" id="{23FC8417-3D2F-525B-2D41-970CF3CD9FD7}"/>
              </a:ext>
            </a:extLst>
          </p:cNvPr>
          <p:cNvSpPr/>
          <p:nvPr/>
        </p:nvSpPr>
        <p:spPr>
          <a:xfrm>
            <a:off x="856735" y="4070939"/>
            <a:ext cx="1369070"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代表者名</a:t>
            </a:r>
          </a:p>
        </p:txBody>
      </p:sp>
      <p:sp>
        <p:nvSpPr>
          <p:cNvPr id="17" name="正方形/長方形 16">
            <a:extLst>
              <a:ext uri="{FF2B5EF4-FFF2-40B4-BE49-F238E27FC236}">
                <a16:creationId xmlns:a16="http://schemas.microsoft.com/office/drawing/2014/main" id="{20996B69-CB9B-C091-6B2F-F7557AF51C10}"/>
              </a:ext>
            </a:extLst>
          </p:cNvPr>
          <p:cNvSpPr/>
          <p:nvPr/>
        </p:nvSpPr>
        <p:spPr>
          <a:xfrm>
            <a:off x="2312149" y="4070938"/>
            <a:ext cx="7126884"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18" name="正方形/長方形 17">
            <a:extLst>
              <a:ext uri="{FF2B5EF4-FFF2-40B4-BE49-F238E27FC236}">
                <a16:creationId xmlns:a16="http://schemas.microsoft.com/office/drawing/2014/main" id="{8396BC0E-2896-7608-ACEB-7A75E40E3961}"/>
              </a:ext>
            </a:extLst>
          </p:cNvPr>
          <p:cNvSpPr/>
          <p:nvPr/>
        </p:nvSpPr>
        <p:spPr>
          <a:xfrm>
            <a:off x="856735" y="5016612"/>
            <a:ext cx="1369070"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所在地</a:t>
            </a:r>
          </a:p>
        </p:txBody>
      </p:sp>
      <p:sp>
        <p:nvSpPr>
          <p:cNvPr id="31" name="正方形/長方形 30">
            <a:extLst>
              <a:ext uri="{FF2B5EF4-FFF2-40B4-BE49-F238E27FC236}">
                <a16:creationId xmlns:a16="http://schemas.microsoft.com/office/drawing/2014/main" id="{0830AB1E-55DC-3A27-DD38-662AD2A0B1FD}"/>
              </a:ext>
            </a:extLst>
          </p:cNvPr>
          <p:cNvSpPr/>
          <p:nvPr/>
        </p:nvSpPr>
        <p:spPr>
          <a:xfrm>
            <a:off x="2312149" y="5016611"/>
            <a:ext cx="7126884"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32" name="正方形/長方形 31">
            <a:extLst>
              <a:ext uri="{FF2B5EF4-FFF2-40B4-BE49-F238E27FC236}">
                <a16:creationId xmlns:a16="http://schemas.microsoft.com/office/drawing/2014/main" id="{F5DD6B33-A35C-6691-EE39-04B75BD75211}"/>
              </a:ext>
            </a:extLst>
          </p:cNvPr>
          <p:cNvSpPr/>
          <p:nvPr/>
        </p:nvSpPr>
        <p:spPr>
          <a:xfrm>
            <a:off x="856735" y="5724633"/>
            <a:ext cx="1369070"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担当部署名</a:t>
            </a:r>
          </a:p>
        </p:txBody>
      </p:sp>
      <p:sp>
        <p:nvSpPr>
          <p:cNvPr id="33" name="正方形/長方形 32">
            <a:extLst>
              <a:ext uri="{FF2B5EF4-FFF2-40B4-BE49-F238E27FC236}">
                <a16:creationId xmlns:a16="http://schemas.microsoft.com/office/drawing/2014/main" id="{A1709447-687F-B3F1-659B-ABCC671B7602}"/>
              </a:ext>
            </a:extLst>
          </p:cNvPr>
          <p:cNvSpPr/>
          <p:nvPr/>
        </p:nvSpPr>
        <p:spPr>
          <a:xfrm>
            <a:off x="2312149" y="5724630"/>
            <a:ext cx="7126884"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34" name="正方形/長方形 33">
            <a:extLst>
              <a:ext uri="{FF2B5EF4-FFF2-40B4-BE49-F238E27FC236}">
                <a16:creationId xmlns:a16="http://schemas.microsoft.com/office/drawing/2014/main" id="{29A952EF-199E-6ABC-C908-65849A433796}"/>
              </a:ext>
            </a:extLst>
          </p:cNvPr>
          <p:cNvSpPr/>
          <p:nvPr/>
        </p:nvSpPr>
        <p:spPr>
          <a:xfrm>
            <a:off x="2312149" y="5316619"/>
            <a:ext cx="7126884" cy="360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37" name="正方形/長方形 36">
            <a:extLst>
              <a:ext uri="{FF2B5EF4-FFF2-40B4-BE49-F238E27FC236}">
                <a16:creationId xmlns:a16="http://schemas.microsoft.com/office/drawing/2014/main" id="{0BB8CE48-8CE2-E9CF-BD2A-10D15AFD0CE1}"/>
              </a:ext>
            </a:extLst>
          </p:cNvPr>
          <p:cNvSpPr/>
          <p:nvPr/>
        </p:nvSpPr>
        <p:spPr>
          <a:xfrm>
            <a:off x="856735" y="5316622"/>
            <a:ext cx="1369070" cy="360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ホームページ等</a:t>
            </a:r>
          </a:p>
        </p:txBody>
      </p:sp>
      <p:sp>
        <p:nvSpPr>
          <p:cNvPr id="38" name="正方形/長方形 37">
            <a:extLst>
              <a:ext uri="{FF2B5EF4-FFF2-40B4-BE49-F238E27FC236}">
                <a16:creationId xmlns:a16="http://schemas.microsoft.com/office/drawing/2014/main" id="{126ECF70-7955-EDE2-21A8-D6ADDDD428CD}"/>
              </a:ext>
            </a:extLst>
          </p:cNvPr>
          <p:cNvSpPr/>
          <p:nvPr/>
        </p:nvSpPr>
        <p:spPr>
          <a:xfrm>
            <a:off x="856735" y="6024641"/>
            <a:ext cx="1369070"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a:solidFill>
                  <a:schemeClr val="bg1"/>
                </a:solidFill>
                <a:latin typeface="+mn-ea"/>
                <a:cs typeface="+mn-cs"/>
              </a:rPr>
              <a:t>担当者名</a:t>
            </a:r>
          </a:p>
        </p:txBody>
      </p:sp>
      <p:sp>
        <p:nvSpPr>
          <p:cNvPr id="39" name="正方形/長方形 38">
            <a:extLst>
              <a:ext uri="{FF2B5EF4-FFF2-40B4-BE49-F238E27FC236}">
                <a16:creationId xmlns:a16="http://schemas.microsoft.com/office/drawing/2014/main" id="{4D309BD0-FFCC-D30C-0462-A6B2BEC09999}"/>
              </a:ext>
            </a:extLst>
          </p:cNvPr>
          <p:cNvSpPr/>
          <p:nvPr/>
        </p:nvSpPr>
        <p:spPr>
          <a:xfrm>
            <a:off x="2312149" y="6024638"/>
            <a:ext cx="7126884"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40" name="正方形/長方形 39">
            <a:extLst>
              <a:ext uri="{FF2B5EF4-FFF2-40B4-BE49-F238E27FC236}">
                <a16:creationId xmlns:a16="http://schemas.microsoft.com/office/drawing/2014/main" id="{6608B9A1-0053-E8D7-2823-C4C2E05E9BB4}"/>
              </a:ext>
            </a:extLst>
          </p:cNvPr>
          <p:cNvSpPr/>
          <p:nvPr/>
        </p:nvSpPr>
        <p:spPr>
          <a:xfrm>
            <a:off x="856735" y="6324644"/>
            <a:ext cx="1369070"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電話番号</a:t>
            </a:r>
          </a:p>
        </p:txBody>
      </p:sp>
      <p:sp>
        <p:nvSpPr>
          <p:cNvPr id="41" name="正方形/長方形 40">
            <a:extLst>
              <a:ext uri="{FF2B5EF4-FFF2-40B4-BE49-F238E27FC236}">
                <a16:creationId xmlns:a16="http://schemas.microsoft.com/office/drawing/2014/main" id="{81D0B08B-6151-FE66-C047-03A2C9C86180}"/>
              </a:ext>
            </a:extLst>
          </p:cNvPr>
          <p:cNvSpPr/>
          <p:nvPr/>
        </p:nvSpPr>
        <p:spPr>
          <a:xfrm>
            <a:off x="2312149" y="6324644"/>
            <a:ext cx="2100193"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42" name="正方形/長方形 41">
            <a:extLst>
              <a:ext uri="{FF2B5EF4-FFF2-40B4-BE49-F238E27FC236}">
                <a16:creationId xmlns:a16="http://schemas.microsoft.com/office/drawing/2014/main" id="{29E450BA-8CAB-8C76-79DB-D1E84AC3E979}"/>
              </a:ext>
            </a:extLst>
          </p:cNvPr>
          <p:cNvSpPr/>
          <p:nvPr/>
        </p:nvSpPr>
        <p:spPr>
          <a:xfrm>
            <a:off x="4490081" y="6324712"/>
            <a:ext cx="1369070"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メールアドレス</a:t>
            </a:r>
          </a:p>
        </p:txBody>
      </p:sp>
      <p:sp>
        <p:nvSpPr>
          <p:cNvPr id="43" name="正方形/長方形 42">
            <a:extLst>
              <a:ext uri="{FF2B5EF4-FFF2-40B4-BE49-F238E27FC236}">
                <a16:creationId xmlns:a16="http://schemas.microsoft.com/office/drawing/2014/main" id="{B346B0B7-0430-6068-F1AC-58B2D5E3F852}"/>
              </a:ext>
            </a:extLst>
          </p:cNvPr>
          <p:cNvSpPr/>
          <p:nvPr/>
        </p:nvSpPr>
        <p:spPr>
          <a:xfrm>
            <a:off x="5927235" y="6324712"/>
            <a:ext cx="3511798"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44" name="正方形/長方形 43">
            <a:extLst>
              <a:ext uri="{FF2B5EF4-FFF2-40B4-BE49-F238E27FC236}">
                <a16:creationId xmlns:a16="http://schemas.microsoft.com/office/drawing/2014/main" id="{48C54FC7-FB60-1470-C427-421A7436F444}"/>
              </a:ext>
            </a:extLst>
          </p:cNvPr>
          <p:cNvSpPr/>
          <p:nvPr/>
        </p:nvSpPr>
        <p:spPr>
          <a:xfrm>
            <a:off x="856735" y="4370947"/>
            <a:ext cx="1369070" cy="597656"/>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団体概要</a:t>
            </a:r>
          </a:p>
        </p:txBody>
      </p:sp>
      <p:sp>
        <p:nvSpPr>
          <p:cNvPr id="45" name="正方形/長方形 44">
            <a:extLst>
              <a:ext uri="{FF2B5EF4-FFF2-40B4-BE49-F238E27FC236}">
                <a16:creationId xmlns:a16="http://schemas.microsoft.com/office/drawing/2014/main" id="{05CAE3BC-8093-33EC-582D-120B0FC671B5}"/>
              </a:ext>
            </a:extLst>
          </p:cNvPr>
          <p:cNvSpPr/>
          <p:nvPr/>
        </p:nvSpPr>
        <p:spPr>
          <a:xfrm>
            <a:off x="2312149" y="4370946"/>
            <a:ext cx="7126884" cy="597656"/>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46" name="正方形/長方形 45">
            <a:extLst>
              <a:ext uri="{FF2B5EF4-FFF2-40B4-BE49-F238E27FC236}">
                <a16:creationId xmlns:a16="http://schemas.microsoft.com/office/drawing/2014/main" id="{111DDB69-49F5-6A1F-348E-0FE5B5DFD6AD}"/>
              </a:ext>
            </a:extLst>
          </p:cNvPr>
          <p:cNvSpPr/>
          <p:nvPr/>
        </p:nvSpPr>
        <p:spPr>
          <a:xfrm>
            <a:off x="474754" y="906085"/>
            <a:ext cx="295638" cy="2805646"/>
          </a:xfrm>
          <a:prstGeom prst="rect">
            <a:avLst/>
          </a:prstGeom>
          <a:solidFill>
            <a:schemeClr val="tx1"/>
          </a:solidFill>
          <a:ln w="19050" cap="flat" cmpd="sng" algn="ctr">
            <a:solidFill>
              <a:schemeClr val="tx1"/>
            </a:solidFill>
            <a:prstDash val="solid"/>
            <a:miter lim="800000"/>
          </a:ln>
          <a:effectLst/>
        </p:spPr>
        <p:txBody>
          <a:bodyPr vert="ea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kern="0" dirty="0">
                <a:solidFill>
                  <a:schemeClr val="bg1"/>
                </a:solidFill>
                <a:latin typeface="+mn-ea"/>
                <a:cs typeface="+mn-cs"/>
              </a:rPr>
              <a:t>構成団体①</a:t>
            </a:r>
            <a:endParaRPr kumimoji="1" lang="ja-JP" altLang="en-US" sz="1200" b="0" i="0" u="none" strike="noStrike" kern="0" cap="none" spc="0" normalizeH="0" baseline="0" noProof="0" dirty="0">
              <a:ln>
                <a:noFill/>
              </a:ln>
              <a:solidFill>
                <a:schemeClr val="bg1"/>
              </a:solidFill>
              <a:effectLst/>
              <a:uLnTx/>
              <a:uFillTx/>
              <a:latin typeface="+mn-ea"/>
              <a:cs typeface="+mn-cs"/>
            </a:endParaRPr>
          </a:p>
        </p:txBody>
      </p:sp>
      <p:sp>
        <p:nvSpPr>
          <p:cNvPr id="47" name="正方形/長方形 46">
            <a:extLst>
              <a:ext uri="{FF2B5EF4-FFF2-40B4-BE49-F238E27FC236}">
                <a16:creationId xmlns:a16="http://schemas.microsoft.com/office/drawing/2014/main" id="{73C159F4-BFFE-DE18-E6B6-C4610B87708F}"/>
              </a:ext>
            </a:extLst>
          </p:cNvPr>
          <p:cNvSpPr/>
          <p:nvPr/>
        </p:nvSpPr>
        <p:spPr>
          <a:xfrm>
            <a:off x="474754" y="3770930"/>
            <a:ext cx="295638" cy="2805646"/>
          </a:xfrm>
          <a:prstGeom prst="rect">
            <a:avLst/>
          </a:prstGeom>
          <a:solidFill>
            <a:schemeClr val="tx1"/>
          </a:solidFill>
          <a:ln w="19050" cap="flat" cmpd="sng" algn="ctr">
            <a:solidFill>
              <a:schemeClr val="tx1"/>
            </a:solidFill>
            <a:prstDash val="solid"/>
            <a:miter lim="800000"/>
          </a:ln>
          <a:effectLst/>
        </p:spPr>
        <p:txBody>
          <a:bodyPr vert="ea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kern="0" dirty="0">
                <a:solidFill>
                  <a:schemeClr val="bg1"/>
                </a:solidFill>
                <a:latin typeface="+mn-ea"/>
                <a:cs typeface="+mn-cs"/>
              </a:rPr>
              <a:t>構成団体②</a:t>
            </a:r>
            <a:endParaRPr kumimoji="1" lang="ja-JP" altLang="en-US" sz="1200" b="0" i="0" u="none" strike="noStrike" kern="0" cap="none" spc="0" normalizeH="0" baseline="0" noProof="0" dirty="0">
              <a:ln>
                <a:noFill/>
              </a:ln>
              <a:solidFill>
                <a:schemeClr val="bg1"/>
              </a:solidFill>
              <a:effectLst/>
              <a:uLnTx/>
              <a:uFillTx/>
              <a:latin typeface="+mn-ea"/>
              <a:cs typeface="+mn-cs"/>
            </a:endParaRPr>
          </a:p>
        </p:txBody>
      </p:sp>
      <p:sp>
        <p:nvSpPr>
          <p:cNvPr id="16" name="正方形/長方形 15">
            <a:extLst>
              <a:ext uri="{FF2B5EF4-FFF2-40B4-BE49-F238E27FC236}">
                <a16:creationId xmlns:a16="http://schemas.microsoft.com/office/drawing/2014/main" id="{F1B910AC-9B6E-9008-BC71-E01EDD2BC393}"/>
              </a:ext>
            </a:extLst>
          </p:cNvPr>
          <p:cNvSpPr/>
          <p:nvPr/>
        </p:nvSpPr>
        <p:spPr bwMode="gray">
          <a:xfrm>
            <a:off x="941717" y="6583098"/>
            <a:ext cx="8964283" cy="25193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marR="0" indent="-457200" defTabSz="990564" rtl="0" eaLnBrk="1" fontAlgn="auto" latinLnBrk="0" hangingPunct="1">
              <a:lnSpc>
                <a:spcPts val="12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srgbClr val="C00000"/>
                </a:solidFill>
                <a:effectLst/>
                <a:uLnTx/>
                <a:uFillTx/>
                <a:latin typeface="+mn-ea"/>
                <a:cs typeface="+mn-cs"/>
              </a:rPr>
              <a:t>※</a:t>
            </a:r>
            <a:r>
              <a:rPr kumimoji="1" lang="ja-JP" altLang="en-US" sz="1050" b="0" i="0" u="none" strike="noStrike" kern="1200" cap="none" spc="0" normalizeH="0" baseline="0" noProof="0" dirty="0">
                <a:ln>
                  <a:noFill/>
                </a:ln>
                <a:solidFill>
                  <a:srgbClr val="C00000"/>
                </a:solidFill>
                <a:effectLst/>
                <a:uLnTx/>
                <a:uFillTx/>
                <a:latin typeface="+mn-ea"/>
                <a:cs typeface="+mn-cs"/>
              </a:rPr>
              <a:t>構成団体数に応じてレイアウト・枚数を適宜調整し、ご記載ください。</a:t>
            </a:r>
            <a:endParaRPr kumimoji="1" lang="en-US" altLang="ja-JP" sz="1050" b="0" i="0" u="none" strike="noStrike" kern="1200" cap="none" spc="0" normalizeH="0" baseline="0" noProof="0" dirty="0">
              <a:ln>
                <a:noFill/>
              </a:ln>
              <a:solidFill>
                <a:srgbClr val="C00000"/>
              </a:solidFill>
              <a:effectLst/>
              <a:uLnTx/>
              <a:uFillTx/>
              <a:latin typeface="+mn-ea"/>
              <a:cs typeface="+mn-cs"/>
            </a:endParaRPr>
          </a:p>
        </p:txBody>
      </p:sp>
      <p:sp>
        <p:nvSpPr>
          <p:cNvPr id="35" name="四角形: 角を丸くする 34">
            <a:extLst>
              <a:ext uri="{FF2B5EF4-FFF2-40B4-BE49-F238E27FC236}">
                <a16:creationId xmlns:a16="http://schemas.microsoft.com/office/drawing/2014/main" id="{03A1F1D7-9C97-BF83-60B9-18BD409B2EBD}"/>
              </a:ext>
            </a:extLst>
          </p:cNvPr>
          <p:cNvSpPr/>
          <p:nvPr/>
        </p:nvSpPr>
        <p:spPr bwMode="gray">
          <a:xfrm>
            <a:off x="4679092" y="108852"/>
            <a:ext cx="4784505" cy="378666"/>
          </a:xfrm>
          <a:prstGeom prst="roundRect">
            <a:avLst>
              <a:gd name="adj" fmla="val 50000"/>
            </a:avLst>
          </a:prstGeom>
          <a:solidFill>
            <a:srgbClr val="FFCCFF"/>
          </a:solidFill>
          <a:ln w="12700" algn="ctr">
            <a:solidFill>
              <a:srgbClr val="CC99FF"/>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algn="ctr" defTabSz="990564" fontAlgn="auto">
              <a:lnSpc>
                <a:spcPts val="1200"/>
              </a:lnSpc>
              <a:spcBef>
                <a:spcPts val="0"/>
              </a:spcBef>
              <a:spcAft>
                <a:spcPts val="0"/>
              </a:spcAft>
              <a:buSzPct val="100000"/>
            </a:pPr>
            <a:r>
              <a:rPr kumimoji="1" lang="ja-JP" altLang="en-US" sz="1200" dirty="0">
                <a:solidFill>
                  <a:prstClr val="black"/>
                </a:solidFill>
                <a:latin typeface="+mn-ea"/>
              </a:rPr>
              <a:t>実施主体に含める場合には明確に団体に承諾を得た上で記載してください。承諾を得ているか事務局より確認を行う場合がございます。</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750156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129A3-FD74-7E63-3615-CF4667402517}"/>
            </a:ext>
          </a:extLst>
        </p:cNvPr>
        <p:cNvGrpSpPr/>
        <p:nvPr/>
      </p:nvGrpSpPr>
      <p:grpSpPr>
        <a:xfrm>
          <a:off x="0" y="0"/>
          <a:ext cx="0" cy="0"/>
          <a:chOff x="0" y="0"/>
          <a:chExt cx="0" cy="0"/>
        </a:xfrm>
      </p:grpSpPr>
      <p:sp>
        <p:nvSpPr>
          <p:cNvPr id="36" name="正方形/長方形 35">
            <a:extLst>
              <a:ext uri="{FF2B5EF4-FFF2-40B4-BE49-F238E27FC236}">
                <a16:creationId xmlns:a16="http://schemas.microsoft.com/office/drawing/2014/main" id="{EBBC7073-88EB-EC65-3AFE-E15F8EA1AC83}"/>
              </a:ext>
            </a:extLst>
          </p:cNvPr>
          <p:cNvSpPr/>
          <p:nvPr/>
        </p:nvSpPr>
        <p:spPr>
          <a:xfrm>
            <a:off x="465970" y="521827"/>
            <a:ext cx="8964283" cy="317618"/>
          </a:xfrm>
          <a:prstGeom prst="rect">
            <a:avLst/>
          </a:prstGeom>
          <a:solidFill>
            <a:schemeClr val="accent3"/>
          </a:solidFill>
          <a:ln w="19050" cap="flat" cmpd="sng" algn="ctr">
            <a:solidFill>
              <a:schemeClr val="accent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b="1" kern="0" dirty="0">
                <a:solidFill>
                  <a:prstClr val="white"/>
                </a:solidFill>
                <a:latin typeface="+mn-ea"/>
                <a:cs typeface="+mn-cs"/>
              </a:rPr>
              <a:t>構成団体の情報</a:t>
            </a:r>
            <a:endParaRPr kumimoji="1" lang="ja-JP" altLang="en-US" sz="1200" b="1" i="0" u="none" strike="noStrike" kern="0" cap="none" spc="0" normalizeH="0" baseline="0" noProof="0" dirty="0">
              <a:ln>
                <a:noFill/>
              </a:ln>
              <a:solidFill>
                <a:prstClr val="white"/>
              </a:solidFill>
              <a:effectLst/>
              <a:uLnTx/>
              <a:uFillTx/>
              <a:latin typeface="+mn-ea"/>
              <a:cs typeface="+mn-cs"/>
            </a:endParaRPr>
          </a:p>
        </p:txBody>
      </p:sp>
      <p:sp>
        <p:nvSpPr>
          <p:cNvPr id="2" name="Slide Number Placeholder 1">
            <a:extLst>
              <a:ext uri="{FF2B5EF4-FFF2-40B4-BE49-F238E27FC236}">
                <a16:creationId xmlns:a16="http://schemas.microsoft.com/office/drawing/2014/main" id="{18B16418-14BB-A347-9B8C-DD9D798042B3}"/>
              </a:ext>
            </a:extLst>
          </p:cNvPr>
          <p:cNvSpPr>
            <a:spLocks noGrp="1"/>
          </p:cNvSpPr>
          <p:nvPr>
            <p:ph type="sldNum" sz="quarter" idx="11"/>
          </p:nvPr>
        </p:nvSpPr>
        <p:spPr/>
        <p:txBody>
          <a:bodyPr/>
          <a:lstStyle/>
          <a:p>
            <a:fld id="{AA5FCFE5-FE56-4EF1-80A8-07776887C2A1}" type="slidenum">
              <a:rPr lang="ja-JP" altLang="en-US" smtClean="0"/>
              <a:pPr/>
              <a:t>7</a:t>
            </a:fld>
            <a:endParaRPr lang="ja-JP" altLang="en-US"/>
          </a:p>
        </p:txBody>
      </p:sp>
      <p:sp>
        <p:nvSpPr>
          <p:cNvPr id="15" name="テキスト ボックス 14">
            <a:extLst>
              <a:ext uri="{FF2B5EF4-FFF2-40B4-BE49-F238E27FC236}">
                <a16:creationId xmlns:a16="http://schemas.microsoft.com/office/drawing/2014/main" id="{56D2F09B-2F96-F124-542A-9D7A5137B95D}"/>
              </a:ext>
            </a:extLst>
          </p:cNvPr>
          <p:cNvSpPr txBox="1"/>
          <p:nvPr/>
        </p:nvSpPr>
        <p:spPr>
          <a:xfrm>
            <a:off x="153988" y="125527"/>
            <a:ext cx="9309608" cy="400110"/>
          </a:xfrm>
          <a:prstGeom prst="rect">
            <a:avLst/>
          </a:prstGeom>
          <a:noFill/>
        </p:spPr>
        <p:txBody>
          <a:bodyPr wrap="square" rtlCol="0">
            <a:spAutoFit/>
          </a:bodyPr>
          <a:lstStyle/>
          <a:p>
            <a:pPr fontAlgn="auto">
              <a:spcBef>
                <a:spcPts val="0"/>
              </a:spcBef>
              <a:spcAft>
                <a:spcPts val="0"/>
              </a:spcAft>
            </a:pPr>
            <a:r>
              <a:rPr kumimoji="1" lang="ja-JP" altLang="en-US" sz="2000" b="1">
                <a:solidFill>
                  <a:prstClr val="white"/>
                </a:solidFill>
                <a:latin typeface="Meiryo UI" panose="020B0604030504040204" pitchFamily="50" charset="-128"/>
                <a:ea typeface="Meiryo UI" panose="020B0604030504040204" pitchFamily="50" charset="-128"/>
                <a:cs typeface="+mn-cs"/>
              </a:rPr>
              <a:t>提案フォーマット案</a:t>
            </a:r>
          </a:p>
        </p:txBody>
      </p:sp>
      <p:sp>
        <p:nvSpPr>
          <p:cNvPr id="4" name="テキスト ボックス 3">
            <a:extLst>
              <a:ext uri="{FF2B5EF4-FFF2-40B4-BE49-F238E27FC236}">
                <a16:creationId xmlns:a16="http://schemas.microsoft.com/office/drawing/2014/main" id="{91FC8BB3-C05A-76B8-34D6-C9054F2B3733}"/>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１．基本情報</a:t>
            </a:r>
          </a:p>
        </p:txBody>
      </p:sp>
      <p:sp>
        <p:nvSpPr>
          <p:cNvPr id="19" name="正方形/長方形 18">
            <a:extLst>
              <a:ext uri="{FF2B5EF4-FFF2-40B4-BE49-F238E27FC236}">
                <a16:creationId xmlns:a16="http://schemas.microsoft.com/office/drawing/2014/main" id="{FC5E50E5-084A-610A-D7EB-C55F19D62842}"/>
              </a:ext>
            </a:extLst>
          </p:cNvPr>
          <p:cNvSpPr/>
          <p:nvPr/>
        </p:nvSpPr>
        <p:spPr>
          <a:xfrm>
            <a:off x="856735" y="906085"/>
            <a:ext cx="1369070" cy="252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団体名</a:t>
            </a:r>
          </a:p>
        </p:txBody>
      </p:sp>
      <p:sp>
        <p:nvSpPr>
          <p:cNvPr id="25" name="正方形/長方形 24">
            <a:extLst>
              <a:ext uri="{FF2B5EF4-FFF2-40B4-BE49-F238E27FC236}">
                <a16:creationId xmlns:a16="http://schemas.microsoft.com/office/drawing/2014/main" id="{A4217334-E900-8BBF-DFCC-3DA0C6E7CF73}"/>
              </a:ext>
            </a:extLst>
          </p:cNvPr>
          <p:cNvSpPr/>
          <p:nvPr/>
        </p:nvSpPr>
        <p:spPr>
          <a:xfrm>
            <a:off x="2312149" y="906085"/>
            <a:ext cx="7126884" cy="252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0" name="正方形/長方形 19">
            <a:extLst>
              <a:ext uri="{FF2B5EF4-FFF2-40B4-BE49-F238E27FC236}">
                <a16:creationId xmlns:a16="http://schemas.microsoft.com/office/drawing/2014/main" id="{8869728F-E3DD-F6B6-4DA4-B803E93E32BC}"/>
              </a:ext>
            </a:extLst>
          </p:cNvPr>
          <p:cNvSpPr/>
          <p:nvPr/>
        </p:nvSpPr>
        <p:spPr>
          <a:xfrm>
            <a:off x="856735" y="1206094"/>
            <a:ext cx="1369070"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代表者名</a:t>
            </a:r>
          </a:p>
        </p:txBody>
      </p:sp>
      <p:sp>
        <p:nvSpPr>
          <p:cNvPr id="26" name="正方形/長方形 25">
            <a:extLst>
              <a:ext uri="{FF2B5EF4-FFF2-40B4-BE49-F238E27FC236}">
                <a16:creationId xmlns:a16="http://schemas.microsoft.com/office/drawing/2014/main" id="{79AECFF6-A2C1-F025-56ED-F06CDDF3C655}"/>
              </a:ext>
            </a:extLst>
          </p:cNvPr>
          <p:cNvSpPr/>
          <p:nvPr/>
        </p:nvSpPr>
        <p:spPr>
          <a:xfrm>
            <a:off x="2312149" y="1206093"/>
            <a:ext cx="7126884"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3" name="正方形/長方形 22">
            <a:extLst>
              <a:ext uri="{FF2B5EF4-FFF2-40B4-BE49-F238E27FC236}">
                <a16:creationId xmlns:a16="http://schemas.microsoft.com/office/drawing/2014/main" id="{126C1CD2-7605-8081-3182-722E3B27E1F2}"/>
              </a:ext>
            </a:extLst>
          </p:cNvPr>
          <p:cNvSpPr/>
          <p:nvPr/>
        </p:nvSpPr>
        <p:spPr>
          <a:xfrm>
            <a:off x="856735" y="2151767"/>
            <a:ext cx="1369070" cy="251999"/>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所在地</a:t>
            </a:r>
          </a:p>
        </p:txBody>
      </p:sp>
      <p:sp>
        <p:nvSpPr>
          <p:cNvPr id="27" name="正方形/長方形 26">
            <a:extLst>
              <a:ext uri="{FF2B5EF4-FFF2-40B4-BE49-F238E27FC236}">
                <a16:creationId xmlns:a16="http://schemas.microsoft.com/office/drawing/2014/main" id="{2EE2BFBF-9F66-BD70-E133-CF2DC3E0C985}"/>
              </a:ext>
            </a:extLst>
          </p:cNvPr>
          <p:cNvSpPr/>
          <p:nvPr/>
        </p:nvSpPr>
        <p:spPr>
          <a:xfrm>
            <a:off x="2312149" y="2151766"/>
            <a:ext cx="7126884" cy="251999"/>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1" name="正方形/長方形 20">
            <a:extLst>
              <a:ext uri="{FF2B5EF4-FFF2-40B4-BE49-F238E27FC236}">
                <a16:creationId xmlns:a16="http://schemas.microsoft.com/office/drawing/2014/main" id="{C0173B1A-26BA-F155-4FAF-93EC7A6F705E}"/>
              </a:ext>
            </a:extLst>
          </p:cNvPr>
          <p:cNvSpPr/>
          <p:nvPr/>
        </p:nvSpPr>
        <p:spPr>
          <a:xfrm>
            <a:off x="856735" y="2859788"/>
            <a:ext cx="1369070"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担当部署名</a:t>
            </a:r>
          </a:p>
        </p:txBody>
      </p:sp>
      <p:sp>
        <p:nvSpPr>
          <p:cNvPr id="29" name="正方形/長方形 28">
            <a:extLst>
              <a:ext uri="{FF2B5EF4-FFF2-40B4-BE49-F238E27FC236}">
                <a16:creationId xmlns:a16="http://schemas.microsoft.com/office/drawing/2014/main" id="{7D5590F7-0AA7-8F91-9EB2-3F8312E5BDE1}"/>
              </a:ext>
            </a:extLst>
          </p:cNvPr>
          <p:cNvSpPr/>
          <p:nvPr/>
        </p:nvSpPr>
        <p:spPr>
          <a:xfrm>
            <a:off x="2312149" y="2859785"/>
            <a:ext cx="7126884"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8" name="正方形/長方形 27">
            <a:extLst>
              <a:ext uri="{FF2B5EF4-FFF2-40B4-BE49-F238E27FC236}">
                <a16:creationId xmlns:a16="http://schemas.microsoft.com/office/drawing/2014/main" id="{9FB37E8B-6665-F9FC-882C-6C16A39D11D6}"/>
              </a:ext>
            </a:extLst>
          </p:cNvPr>
          <p:cNvSpPr/>
          <p:nvPr/>
        </p:nvSpPr>
        <p:spPr>
          <a:xfrm>
            <a:off x="2312149" y="2451774"/>
            <a:ext cx="7126884" cy="360000"/>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3" name="正方形/長方形 2">
            <a:extLst>
              <a:ext uri="{FF2B5EF4-FFF2-40B4-BE49-F238E27FC236}">
                <a16:creationId xmlns:a16="http://schemas.microsoft.com/office/drawing/2014/main" id="{7139CDE4-77E9-D478-E90E-91D3844E3B6A}"/>
              </a:ext>
            </a:extLst>
          </p:cNvPr>
          <p:cNvSpPr/>
          <p:nvPr/>
        </p:nvSpPr>
        <p:spPr>
          <a:xfrm>
            <a:off x="856735" y="2451777"/>
            <a:ext cx="1369070" cy="360000"/>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ホームページ等</a:t>
            </a:r>
          </a:p>
        </p:txBody>
      </p:sp>
      <p:sp>
        <p:nvSpPr>
          <p:cNvPr id="22" name="正方形/長方形 21">
            <a:extLst>
              <a:ext uri="{FF2B5EF4-FFF2-40B4-BE49-F238E27FC236}">
                <a16:creationId xmlns:a16="http://schemas.microsoft.com/office/drawing/2014/main" id="{66CD585E-82A7-D797-AAB5-9798892F9AB9}"/>
              </a:ext>
            </a:extLst>
          </p:cNvPr>
          <p:cNvSpPr/>
          <p:nvPr/>
        </p:nvSpPr>
        <p:spPr>
          <a:xfrm>
            <a:off x="856735" y="3159796"/>
            <a:ext cx="1369070" cy="251997"/>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a:solidFill>
                  <a:schemeClr val="bg1"/>
                </a:solidFill>
                <a:latin typeface="+mn-ea"/>
                <a:cs typeface="+mn-cs"/>
              </a:rPr>
              <a:t>担当者名</a:t>
            </a:r>
          </a:p>
        </p:txBody>
      </p:sp>
      <p:sp>
        <p:nvSpPr>
          <p:cNvPr id="6" name="正方形/長方形 5">
            <a:extLst>
              <a:ext uri="{FF2B5EF4-FFF2-40B4-BE49-F238E27FC236}">
                <a16:creationId xmlns:a16="http://schemas.microsoft.com/office/drawing/2014/main" id="{E8BF9090-D564-7CC9-C4FC-4252EAB673BB}"/>
              </a:ext>
            </a:extLst>
          </p:cNvPr>
          <p:cNvSpPr/>
          <p:nvPr/>
        </p:nvSpPr>
        <p:spPr>
          <a:xfrm>
            <a:off x="2312149" y="3159793"/>
            <a:ext cx="7126884" cy="251997"/>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24" name="正方形/長方形 23">
            <a:extLst>
              <a:ext uri="{FF2B5EF4-FFF2-40B4-BE49-F238E27FC236}">
                <a16:creationId xmlns:a16="http://schemas.microsoft.com/office/drawing/2014/main" id="{9EAF198A-5ED9-8E4A-06DA-D8AF9F026A6C}"/>
              </a:ext>
            </a:extLst>
          </p:cNvPr>
          <p:cNvSpPr/>
          <p:nvPr/>
        </p:nvSpPr>
        <p:spPr>
          <a:xfrm>
            <a:off x="856735" y="3459799"/>
            <a:ext cx="1369070"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電話番号</a:t>
            </a:r>
          </a:p>
        </p:txBody>
      </p:sp>
      <p:sp>
        <p:nvSpPr>
          <p:cNvPr id="30" name="正方形/長方形 29">
            <a:extLst>
              <a:ext uri="{FF2B5EF4-FFF2-40B4-BE49-F238E27FC236}">
                <a16:creationId xmlns:a16="http://schemas.microsoft.com/office/drawing/2014/main" id="{3E5750CE-55FD-63C6-6B4E-9368EEE87875}"/>
              </a:ext>
            </a:extLst>
          </p:cNvPr>
          <p:cNvSpPr/>
          <p:nvPr/>
        </p:nvSpPr>
        <p:spPr>
          <a:xfrm>
            <a:off x="2312149" y="3459799"/>
            <a:ext cx="2100193"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9" name="正方形/長方形 8">
            <a:extLst>
              <a:ext uri="{FF2B5EF4-FFF2-40B4-BE49-F238E27FC236}">
                <a16:creationId xmlns:a16="http://schemas.microsoft.com/office/drawing/2014/main" id="{6AF927A7-F28A-9D3E-B96A-06EA798B17F8}"/>
              </a:ext>
            </a:extLst>
          </p:cNvPr>
          <p:cNvSpPr/>
          <p:nvPr/>
        </p:nvSpPr>
        <p:spPr>
          <a:xfrm>
            <a:off x="4490081" y="3459867"/>
            <a:ext cx="1369070" cy="251932"/>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メールアドレス</a:t>
            </a:r>
          </a:p>
        </p:txBody>
      </p:sp>
      <p:sp>
        <p:nvSpPr>
          <p:cNvPr id="10" name="正方形/長方形 9">
            <a:extLst>
              <a:ext uri="{FF2B5EF4-FFF2-40B4-BE49-F238E27FC236}">
                <a16:creationId xmlns:a16="http://schemas.microsoft.com/office/drawing/2014/main" id="{19BEFF85-279F-99EA-3256-8C11D31439CC}"/>
              </a:ext>
            </a:extLst>
          </p:cNvPr>
          <p:cNvSpPr/>
          <p:nvPr/>
        </p:nvSpPr>
        <p:spPr>
          <a:xfrm>
            <a:off x="5927235" y="3459867"/>
            <a:ext cx="3511798" cy="251932"/>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12" name="正方形/長方形 11">
            <a:extLst>
              <a:ext uri="{FF2B5EF4-FFF2-40B4-BE49-F238E27FC236}">
                <a16:creationId xmlns:a16="http://schemas.microsoft.com/office/drawing/2014/main" id="{58EA889D-EA44-CE77-1A65-EFDE2BBD74FF}"/>
              </a:ext>
            </a:extLst>
          </p:cNvPr>
          <p:cNvSpPr/>
          <p:nvPr/>
        </p:nvSpPr>
        <p:spPr>
          <a:xfrm>
            <a:off x="856735" y="1506102"/>
            <a:ext cx="1369070" cy="597656"/>
          </a:xfrm>
          <a:prstGeom prst="rect">
            <a:avLst/>
          </a:prstGeom>
          <a:solidFill>
            <a:schemeClr val="tx2"/>
          </a:solidFill>
          <a:ln w="6350" cap="flat" cmpd="sng" algn="ctr">
            <a:solidFill>
              <a:schemeClr val="tx2"/>
            </a:solidFill>
            <a:prstDash val="solid"/>
            <a:miter lim="800000"/>
          </a:ln>
          <a:effectLst/>
        </p:spPr>
        <p:txBody>
          <a:bodyPr rtlCol="0" anchor="ctr"/>
          <a:lstStyle/>
          <a:p>
            <a:pPr algn="ctr" fontAlgn="auto">
              <a:spcBef>
                <a:spcPts val="0"/>
              </a:spcBef>
              <a:spcAft>
                <a:spcPts val="0"/>
              </a:spcAft>
            </a:pPr>
            <a:r>
              <a:rPr kumimoji="1" lang="ja-JP" altLang="en-US" sz="1200" kern="0" dirty="0">
                <a:solidFill>
                  <a:schemeClr val="bg1"/>
                </a:solidFill>
                <a:latin typeface="+mn-ea"/>
                <a:cs typeface="+mn-cs"/>
              </a:rPr>
              <a:t>団体概要</a:t>
            </a:r>
          </a:p>
        </p:txBody>
      </p:sp>
      <p:sp>
        <p:nvSpPr>
          <p:cNvPr id="14" name="正方形/長方形 13">
            <a:extLst>
              <a:ext uri="{FF2B5EF4-FFF2-40B4-BE49-F238E27FC236}">
                <a16:creationId xmlns:a16="http://schemas.microsoft.com/office/drawing/2014/main" id="{7005A841-B894-8425-7DCF-E03D64966C50}"/>
              </a:ext>
            </a:extLst>
          </p:cNvPr>
          <p:cNvSpPr/>
          <p:nvPr/>
        </p:nvSpPr>
        <p:spPr>
          <a:xfrm>
            <a:off x="2312149" y="1506101"/>
            <a:ext cx="7126884" cy="597656"/>
          </a:xfrm>
          <a:prstGeom prst="rect">
            <a:avLst/>
          </a:prstGeom>
          <a:solidFill>
            <a:sysClr val="window" lastClr="FFFFFF"/>
          </a:solidFill>
          <a:ln w="6350" cap="flat" cmpd="sng" algn="ctr">
            <a:solidFill>
              <a:schemeClr val="tx1">
                <a:lumMod val="50000"/>
                <a:lumOff val="50000"/>
              </a:schemeClr>
            </a:solidFill>
            <a:prstDash val="solid"/>
            <a:miter lim="800000"/>
          </a:ln>
          <a:effectLst/>
        </p:spPr>
        <p:txBody>
          <a:bodyPr rtlCol="0" anchor="ctr"/>
          <a:lstStyle/>
          <a:p>
            <a:pPr fontAlgn="auto">
              <a:spcBef>
                <a:spcPts val="0"/>
              </a:spcBef>
              <a:spcAft>
                <a:spcPts val="0"/>
              </a:spcAft>
            </a:pPr>
            <a:endParaRPr kumimoji="1" lang="ja-JP" altLang="en-US" sz="1200" kern="0">
              <a:solidFill>
                <a:prstClr val="black"/>
              </a:solidFill>
              <a:latin typeface="+mn-ea"/>
              <a:cs typeface="+mn-cs"/>
            </a:endParaRPr>
          </a:p>
        </p:txBody>
      </p:sp>
      <p:sp>
        <p:nvSpPr>
          <p:cNvPr id="46" name="正方形/長方形 45">
            <a:extLst>
              <a:ext uri="{FF2B5EF4-FFF2-40B4-BE49-F238E27FC236}">
                <a16:creationId xmlns:a16="http://schemas.microsoft.com/office/drawing/2014/main" id="{0F67A80B-E935-71CD-841A-3D90FBAA6C87}"/>
              </a:ext>
            </a:extLst>
          </p:cNvPr>
          <p:cNvSpPr/>
          <p:nvPr/>
        </p:nvSpPr>
        <p:spPr>
          <a:xfrm>
            <a:off x="474754" y="906085"/>
            <a:ext cx="295638" cy="2805646"/>
          </a:xfrm>
          <a:prstGeom prst="rect">
            <a:avLst/>
          </a:prstGeom>
          <a:solidFill>
            <a:schemeClr val="tx1"/>
          </a:solidFill>
          <a:ln w="19050" cap="flat" cmpd="sng" algn="ctr">
            <a:solidFill>
              <a:schemeClr val="tx1"/>
            </a:solidFill>
            <a:prstDash val="solid"/>
            <a:miter lim="800000"/>
          </a:ln>
          <a:effectLst/>
        </p:spPr>
        <p:txBody>
          <a:bodyPr vert="ea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kern="0" dirty="0">
                <a:solidFill>
                  <a:schemeClr val="bg1"/>
                </a:solidFill>
                <a:latin typeface="+mn-ea"/>
                <a:cs typeface="+mn-cs"/>
              </a:rPr>
              <a:t>構成団体③</a:t>
            </a:r>
            <a:endParaRPr kumimoji="1" lang="ja-JP" altLang="en-US" sz="1200" b="0" i="0" u="none" strike="noStrike" kern="0" cap="none" spc="0" normalizeH="0" baseline="0" noProof="0" dirty="0">
              <a:ln>
                <a:noFill/>
              </a:ln>
              <a:solidFill>
                <a:schemeClr val="bg1"/>
              </a:solidFill>
              <a:effectLst/>
              <a:uLnTx/>
              <a:uFillTx/>
              <a:latin typeface="+mn-ea"/>
              <a:cs typeface="+mn-cs"/>
            </a:endParaRPr>
          </a:p>
        </p:txBody>
      </p:sp>
      <p:sp>
        <p:nvSpPr>
          <p:cNvPr id="16" name="正方形/長方形 15">
            <a:extLst>
              <a:ext uri="{FF2B5EF4-FFF2-40B4-BE49-F238E27FC236}">
                <a16:creationId xmlns:a16="http://schemas.microsoft.com/office/drawing/2014/main" id="{95DDEFE5-5B1D-60DA-4681-C7122423A0E6}"/>
              </a:ext>
            </a:extLst>
          </p:cNvPr>
          <p:cNvSpPr/>
          <p:nvPr/>
        </p:nvSpPr>
        <p:spPr bwMode="gray">
          <a:xfrm>
            <a:off x="941717" y="6583098"/>
            <a:ext cx="8964283" cy="25193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200"/>
              </a:lnSpc>
              <a:spcBef>
                <a:spcPts val="0"/>
              </a:spcBef>
              <a:spcAft>
                <a:spcPts val="0"/>
              </a:spcAft>
              <a:buSzPct val="100000"/>
            </a:pPr>
            <a:r>
              <a:rPr kumimoji="1" lang="en-US" altLang="ja-JP" sz="1050" dirty="0">
                <a:solidFill>
                  <a:srgbClr val="C00000"/>
                </a:solidFill>
                <a:latin typeface="+mn-ea"/>
              </a:rPr>
              <a:t>※</a:t>
            </a:r>
            <a:r>
              <a:rPr kumimoji="1" lang="ja-JP" altLang="en-US" sz="1050" dirty="0">
                <a:solidFill>
                  <a:srgbClr val="C00000"/>
                </a:solidFill>
                <a:latin typeface="+mn-ea"/>
              </a:rPr>
              <a:t>構成団体数に応じてレイアウト・枚数を適宜調整し、ご記載ください。</a:t>
            </a:r>
            <a:endParaRPr kumimoji="1" lang="en-US" altLang="ja-JP" sz="1050" dirty="0">
              <a:solidFill>
                <a:srgbClr val="C00000"/>
              </a:solidFill>
              <a:latin typeface="+mn-ea"/>
            </a:endParaRPr>
          </a:p>
        </p:txBody>
      </p:sp>
      <p:sp>
        <p:nvSpPr>
          <p:cNvPr id="5" name="四角形: 角を丸くする 4">
            <a:extLst>
              <a:ext uri="{FF2B5EF4-FFF2-40B4-BE49-F238E27FC236}">
                <a16:creationId xmlns:a16="http://schemas.microsoft.com/office/drawing/2014/main" id="{B8476908-C23E-97D7-2161-95CCCCC1BFE3}"/>
              </a:ext>
            </a:extLst>
          </p:cNvPr>
          <p:cNvSpPr/>
          <p:nvPr/>
        </p:nvSpPr>
        <p:spPr bwMode="gray">
          <a:xfrm>
            <a:off x="4679092" y="108852"/>
            <a:ext cx="4784505" cy="378666"/>
          </a:xfrm>
          <a:prstGeom prst="roundRect">
            <a:avLst>
              <a:gd name="adj" fmla="val 50000"/>
            </a:avLst>
          </a:prstGeom>
          <a:solidFill>
            <a:srgbClr val="FFCCFF"/>
          </a:solidFill>
          <a:ln w="12700" algn="ctr">
            <a:solidFill>
              <a:srgbClr val="CC99FF"/>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algn="ctr" defTabSz="990564" fontAlgn="auto">
              <a:lnSpc>
                <a:spcPts val="1200"/>
              </a:lnSpc>
              <a:spcBef>
                <a:spcPts val="0"/>
              </a:spcBef>
              <a:spcAft>
                <a:spcPts val="0"/>
              </a:spcAft>
              <a:buSzPct val="100000"/>
            </a:pPr>
            <a:r>
              <a:rPr kumimoji="1" lang="ja-JP" altLang="en-US" sz="1200" dirty="0">
                <a:solidFill>
                  <a:prstClr val="black"/>
                </a:solidFill>
                <a:latin typeface="+mn-ea"/>
              </a:rPr>
              <a:t>実施主体に含める場合には明確に団体に承諾を得た上で記載してください。承諾を得ているか事務局より確認を行う場合がございます。</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721545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3C30-E72F-0F04-77E8-C300B078E8F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BB099-D5B8-14DA-C159-488A7F1E040B}"/>
              </a:ext>
            </a:extLst>
          </p:cNvPr>
          <p:cNvSpPr>
            <a:spLocks noGrp="1"/>
          </p:cNvSpPr>
          <p:nvPr>
            <p:ph type="sldNum" sz="quarter" idx="11"/>
          </p:nvPr>
        </p:nvSpPr>
        <p:spPr/>
        <p:txBody>
          <a:bodyPr/>
          <a:lstStyle/>
          <a:p>
            <a:fld id="{AA5FCFE5-FE56-4EF1-80A8-07776887C2A1}" type="slidenum">
              <a:rPr lang="ja-JP" altLang="en-US" smtClean="0"/>
              <a:pPr/>
              <a:t>8</a:t>
            </a:fld>
            <a:endParaRPr lang="ja-JP" altLang="en-US"/>
          </a:p>
        </p:txBody>
      </p:sp>
      <p:sp>
        <p:nvSpPr>
          <p:cNvPr id="11" name="Rectangle 10">
            <a:extLst>
              <a:ext uri="{FF2B5EF4-FFF2-40B4-BE49-F238E27FC236}">
                <a16:creationId xmlns:a16="http://schemas.microsoft.com/office/drawing/2014/main" id="{1ED2717A-D6C7-A86C-B029-763D16D64931}"/>
              </a:ext>
            </a:extLst>
          </p:cNvPr>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ja-JP" altLang="en-US"/>
          </a:p>
        </p:txBody>
      </p:sp>
      <p:sp>
        <p:nvSpPr>
          <p:cNvPr id="7" name="正方形/長方形 6">
            <a:extLst>
              <a:ext uri="{FF2B5EF4-FFF2-40B4-BE49-F238E27FC236}">
                <a16:creationId xmlns:a16="http://schemas.microsoft.com/office/drawing/2014/main" id="{9E861EE7-810B-9BB0-FEF9-14587F7947E0}"/>
              </a:ext>
            </a:extLst>
          </p:cNvPr>
          <p:cNvSpPr/>
          <p:nvPr/>
        </p:nvSpPr>
        <p:spPr bwMode="gray">
          <a:xfrm>
            <a:off x="979665" y="3179971"/>
            <a:ext cx="3430410" cy="28346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正方形/長方形 7">
            <a:extLst>
              <a:ext uri="{FF2B5EF4-FFF2-40B4-BE49-F238E27FC236}">
                <a16:creationId xmlns:a16="http://schemas.microsoft.com/office/drawing/2014/main" id="{FE9554C8-2A7A-4C10-1AFF-E0374032EDC3}"/>
              </a:ext>
            </a:extLst>
          </p:cNvPr>
          <p:cNvSpPr/>
          <p:nvPr/>
        </p:nvSpPr>
        <p:spPr bwMode="gray">
          <a:xfrm>
            <a:off x="328887" y="2858745"/>
            <a:ext cx="4081188" cy="283463"/>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代表団体</a:t>
            </a:r>
          </a:p>
        </p:txBody>
      </p:sp>
      <p:sp>
        <p:nvSpPr>
          <p:cNvPr id="12" name="正方形/長方形 11">
            <a:extLst>
              <a:ext uri="{FF2B5EF4-FFF2-40B4-BE49-F238E27FC236}">
                <a16:creationId xmlns:a16="http://schemas.microsoft.com/office/drawing/2014/main" id="{42ED21F6-9ABC-9F5D-98E2-48279588A9D9}"/>
              </a:ext>
            </a:extLst>
          </p:cNvPr>
          <p:cNvSpPr/>
          <p:nvPr/>
        </p:nvSpPr>
        <p:spPr bwMode="gray">
          <a:xfrm>
            <a:off x="328888" y="3179971"/>
            <a:ext cx="580358" cy="283463"/>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団体名</a:t>
            </a:r>
          </a:p>
        </p:txBody>
      </p:sp>
      <p:sp>
        <p:nvSpPr>
          <p:cNvPr id="13" name="正方形/長方形 12">
            <a:extLst>
              <a:ext uri="{FF2B5EF4-FFF2-40B4-BE49-F238E27FC236}">
                <a16:creationId xmlns:a16="http://schemas.microsoft.com/office/drawing/2014/main" id="{D90C6FD9-65DD-8528-8FE5-457206F68368}"/>
              </a:ext>
            </a:extLst>
          </p:cNvPr>
          <p:cNvSpPr/>
          <p:nvPr/>
        </p:nvSpPr>
        <p:spPr bwMode="gray">
          <a:xfrm>
            <a:off x="979665" y="3494071"/>
            <a:ext cx="3430410" cy="475616"/>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2F7968F5-6016-C31F-42B2-06B8A2AB5371}"/>
              </a:ext>
            </a:extLst>
          </p:cNvPr>
          <p:cNvSpPr/>
          <p:nvPr/>
        </p:nvSpPr>
        <p:spPr bwMode="gray">
          <a:xfrm>
            <a:off x="328888" y="3494071"/>
            <a:ext cx="580358" cy="475616"/>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役割</a:t>
            </a:r>
          </a:p>
        </p:txBody>
      </p:sp>
      <p:sp>
        <p:nvSpPr>
          <p:cNvPr id="26" name="正方形/長方形 25">
            <a:extLst>
              <a:ext uri="{FF2B5EF4-FFF2-40B4-BE49-F238E27FC236}">
                <a16:creationId xmlns:a16="http://schemas.microsoft.com/office/drawing/2014/main" id="{A509C44B-2656-0A3F-D4CE-86A453B5F3A7}"/>
              </a:ext>
            </a:extLst>
          </p:cNvPr>
          <p:cNvSpPr/>
          <p:nvPr/>
        </p:nvSpPr>
        <p:spPr bwMode="gray">
          <a:xfrm>
            <a:off x="6274227" y="1569261"/>
            <a:ext cx="3347842" cy="28346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ACBAE995-AC25-1FE9-25D6-A4D25192B57E}"/>
              </a:ext>
            </a:extLst>
          </p:cNvPr>
          <p:cNvSpPr/>
          <p:nvPr/>
        </p:nvSpPr>
        <p:spPr bwMode="gray">
          <a:xfrm>
            <a:off x="5639113" y="1248035"/>
            <a:ext cx="3982956" cy="283463"/>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構成</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団体①</a:t>
            </a:r>
          </a:p>
        </p:txBody>
      </p:sp>
      <p:sp>
        <p:nvSpPr>
          <p:cNvPr id="28" name="正方形/長方形 27">
            <a:extLst>
              <a:ext uri="{FF2B5EF4-FFF2-40B4-BE49-F238E27FC236}">
                <a16:creationId xmlns:a16="http://schemas.microsoft.com/office/drawing/2014/main" id="{F41917D9-47DF-8144-FA5C-AD0345730B20}"/>
              </a:ext>
            </a:extLst>
          </p:cNvPr>
          <p:cNvSpPr/>
          <p:nvPr/>
        </p:nvSpPr>
        <p:spPr bwMode="gray">
          <a:xfrm>
            <a:off x="5639114" y="1569261"/>
            <a:ext cx="566389" cy="283463"/>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団体名</a:t>
            </a:r>
          </a:p>
        </p:txBody>
      </p:sp>
      <p:sp>
        <p:nvSpPr>
          <p:cNvPr id="29" name="正方形/長方形 28">
            <a:extLst>
              <a:ext uri="{FF2B5EF4-FFF2-40B4-BE49-F238E27FC236}">
                <a16:creationId xmlns:a16="http://schemas.microsoft.com/office/drawing/2014/main" id="{FF1E9A4B-8388-23C5-CCD5-139C567FA646}"/>
              </a:ext>
            </a:extLst>
          </p:cNvPr>
          <p:cNvSpPr/>
          <p:nvPr/>
        </p:nvSpPr>
        <p:spPr bwMode="gray">
          <a:xfrm>
            <a:off x="6274227" y="1883361"/>
            <a:ext cx="3347842" cy="475616"/>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E1D5A222-E711-5AD7-CD9A-65959AA221A5}"/>
              </a:ext>
            </a:extLst>
          </p:cNvPr>
          <p:cNvSpPr/>
          <p:nvPr/>
        </p:nvSpPr>
        <p:spPr bwMode="gray">
          <a:xfrm>
            <a:off x="5639114" y="1883361"/>
            <a:ext cx="566389" cy="475616"/>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役割</a:t>
            </a:r>
          </a:p>
        </p:txBody>
      </p:sp>
      <p:sp>
        <p:nvSpPr>
          <p:cNvPr id="32" name="正方形/長方形 31">
            <a:extLst>
              <a:ext uri="{FF2B5EF4-FFF2-40B4-BE49-F238E27FC236}">
                <a16:creationId xmlns:a16="http://schemas.microsoft.com/office/drawing/2014/main" id="{0B816673-9EA0-58CA-1C64-43DC37A54D65}"/>
              </a:ext>
            </a:extLst>
          </p:cNvPr>
          <p:cNvSpPr/>
          <p:nvPr/>
        </p:nvSpPr>
        <p:spPr bwMode="gray">
          <a:xfrm>
            <a:off x="6274227" y="3179971"/>
            <a:ext cx="3347842" cy="28346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B9B41C49-5D6B-9DE9-8048-7FDE95209D56}"/>
              </a:ext>
            </a:extLst>
          </p:cNvPr>
          <p:cNvSpPr/>
          <p:nvPr/>
        </p:nvSpPr>
        <p:spPr bwMode="gray">
          <a:xfrm>
            <a:off x="5639113" y="2858745"/>
            <a:ext cx="3982956" cy="283463"/>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構成</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団体②</a:t>
            </a:r>
          </a:p>
        </p:txBody>
      </p:sp>
      <p:sp>
        <p:nvSpPr>
          <p:cNvPr id="34" name="正方形/長方形 33">
            <a:extLst>
              <a:ext uri="{FF2B5EF4-FFF2-40B4-BE49-F238E27FC236}">
                <a16:creationId xmlns:a16="http://schemas.microsoft.com/office/drawing/2014/main" id="{250CF32A-1492-AE74-8205-5B13568E8B87}"/>
              </a:ext>
            </a:extLst>
          </p:cNvPr>
          <p:cNvSpPr/>
          <p:nvPr/>
        </p:nvSpPr>
        <p:spPr bwMode="gray">
          <a:xfrm>
            <a:off x="5639114" y="3179971"/>
            <a:ext cx="566389" cy="283463"/>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団体名</a:t>
            </a:r>
          </a:p>
        </p:txBody>
      </p:sp>
      <p:sp>
        <p:nvSpPr>
          <p:cNvPr id="35" name="正方形/長方形 34">
            <a:extLst>
              <a:ext uri="{FF2B5EF4-FFF2-40B4-BE49-F238E27FC236}">
                <a16:creationId xmlns:a16="http://schemas.microsoft.com/office/drawing/2014/main" id="{1F8172DF-6FFC-F170-65CF-DEDAFA71AD76}"/>
              </a:ext>
            </a:extLst>
          </p:cNvPr>
          <p:cNvSpPr/>
          <p:nvPr/>
        </p:nvSpPr>
        <p:spPr bwMode="gray">
          <a:xfrm>
            <a:off x="6274227" y="3494071"/>
            <a:ext cx="3347842" cy="475616"/>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7C58B0F7-B061-D375-E220-A6E02CCA4A42}"/>
              </a:ext>
            </a:extLst>
          </p:cNvPr>
          <p:cNvSpPr/>
          <p:nvPr/>
        </p:nvSpPr>
        <p:spPr bwMode="gray">
          <a:xfrm>
            <a:off x="5639114" y="3494071"/>
            <a:ext cx="566389" cy="475616"/>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役割</a:t>
            </a:r>
          </a:p>
        </p:txBody>
      </p:sp>
      <p:sp>
        <p:nvSpPr>
          <p:cNvPr id="38" name="正方形/長方形 37">
            <a:extLst>
              <a:ext uri="{FF2B5EF4-FFF2-40B4-BE49-F238E27FC236}">
                <a16:creationId xmlns:a16="http://schemas.microsoft.com/office/drawing/2014/main" id="{2E2F8429-1B4F-646F-4EAB-04CCB801F428}"/>
              </a:ext>
            </a:extLst>
          </p:cNvPr>
          <p:cNvSpPr/>
          <p:nvPr/>
        </p:nvSpPr>
        <p:spPr bwMode="gray">
          <a:xfrm>
            <a:off x="6274227" y="4737591"/>
            <a:ext cx="3347842" cy="28346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54D3CEA3-45E6-44A1-E741-D5895291F400}"/>
              </a:ext>
            </a:extLst>
          </p:cNvPr>
          <p:cNvSpPr/>
          <p:nvPr/>
        </p:nvSpPr>
        <p:spPr bwMode="gray">
          <a:xfrm>
            <a:off x="5639113" y="4416365"/>
            <a:ext cx="3982956" cy="283463"/>
          </a:xfrm>
          <a:prstGeom prst="rect">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構成</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団体③</a:t>
            </a:r>
          </a:p>
        </p:txBody>
      </p:sp>
      <p:sp>
        <p:nvSpPr>
          <p:cNvPr id="40" name="正方形/長方形 39">
            <a:extLst>
              <a:ext uri="{FF2B5EF4-FFF2-40B4-BE49-F238E27FC236}">
                <a16:creationId xmlns:a16="http://schemas.microsoft.com/office/drawing/2014/main" id="{00D96E17-2607-2519-D815-FEF523FA37A7}"/>
              </a:ext>
            </a:extLst>
          </p:cNvPr>
          <p:cNvSpPr/>
          <p:nvPr/>
        </p:nvSpPr>
        <p:spPr bwMode="gray">
          <a:xfrm>
            <a:off x="5639114" y="4737591"/>
            <a:ext cx="566389" cy="283463"/>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団体名</a:t>
            </a:r>
          </a:p>
        </p:txBody>
      </p:sp>
      <p:sp>
        <p:nvSpPr>
          <p:cNvPr id="41" name="正方形/長方形 40">
            <a:extLst>
              <a:ext uri="{FF2B5EF4-FFF2-40B4-BE49-F238E27FC236}">
                <a16:creationId xmlns:a16="http://schemas.microsoft.com/office/drawing/2014/main" id="{65EA93FB-7C93-ED1C-FFD5-804FB5B9E5A1}"/>
              </a:ext>
            </a:extLst>
          </p:cNvPr>
          <p:cNvSpPr/>
          <p:nvPr/>
        </p:nvSpPr>
        <p:spPr bwMode="gray">
          <a:xfrm>
            <a:off x="6274227" y="5051691"/>
            <a:ext cx="3347842" cy="475616"/>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br>
              <a:rPr kumimoji="1" lang="en-US" altLang="ja-JP" sz="1200" dirty="0">
                <a:solidFill>
                  <a:prstClr val="black"/>
                </a:solidFill>
                <a:latin typeface="+mn-lt"/>
                <a:cs typeface="+mn-cs"/>
              </a:rPr>
            </a:b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AAC63F16-D397-B514-E76E-F6BE797B7416}"/>
              </a:ext>
            </a:extLst>
          </p:cNvPr>
          <p:cNvSpPr/>
          <p:nvPr/>
        </p:nvSpPr>
        <p:spPr bwMode="gray">
          <a:xfrm>
            <a:off x="5639114" y="5051691"/>
            <a:ext cx="566389" cy="475616"/>
          </a:xfrm>
          <a:prstGeom prst="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役割</a:t>
            </a:r>
          </a:p>
        </p:txBody>
      </p:sp>
      <p:cxnSp>
        <p:nvCxnSpPr>
          <p:cNvPr id="5" name="コネクタ: カギ線 4">
            <a:extLst>
              <a:ext uri="{FF2B5EF4-FFF2-40B4-BE49-F238E27FC236}">
                <a16:creationId xmlns:a16="http://schemas.microsoft.com/office/drawing/2014/main" id="{963197D9-B512-FE9B-1576-93FCCB3901E8}"/>
              </a:ext>
            </a:extLst>
          </p:cNvPr>
          <p:cNvCxnSpPr>
            <a:stCxn id="8" idx="3"/>
            <a:endCxn id="27" idx="1"/>
          </p:cNvCxnSpPr>
          <p:nvPr/>
        </p:nvCxnSpPr>
        <p:spPr bwMode="gray">
          <a:xfrm flipV="1">
            <a:off x="4410075" y="1389767"/>
            <a:ext cx="1229038" cy="161071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コネクタ: カギ線 13">
            <a:extLst>
              <a:ext uri="{FF2B5EF4-FFF2-40B4-BE49-F238E27FC236}">
                <a16:creationId xmlns:a16="http://schemas.microsoft.com/office/drawing/2014/main" id="{466CE537-2904-7A68-E2A0-2E6FCAE2D189}"/>
              </a:ext>
            </a:extLst>
          </p:cNvPr>
          <p:cNvCxnSpPr>
            <a:stCxn id="8" idx="3"/>
            <a:endCxn id="39" idx="1"/>
          </p:cNvCxnSpPr>
          <p:nvPr/>
        </p:nvCxnSpPr>
        <p:spPr bwMode="gray">
          <a:xfrm>
            <a:off x="4410075" y="3000477"/>
            <a:ext cx="1229038" cy="155762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2330E63D-05E4-1921-38BD-208808424718}"/>
              </a:ext>
            </a:extLst>
          </p:cNvPr>
          <p:cNvCxnSpPr>
            <a:cxnSpLocks/>
            <a:stCxn id="8" idx="3"/>
            <a:endCxn id="33" idx="1"/>
          </p:cNvCxnSpPr>
          <p:nvPr/>
        </p:nvCxnSpPr>
        <p:spPr bwMode="gray">
          <a:xfrm>
            <a:off x="4410075" y="3000477"/>
            <a:ext cx="122903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F11AF7AB-B38F-6C08-33FC-00799A8717A8}"/>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２．実施体制①</a:t>
            </a:r>
          </a:p>
        </p:txBody>
      </p:sp>
      <p:sp>
        <p:nvSpPr>
          <p:cNvPr id="16" name="正方形/長方形 15">
            <a:extLst>
              <a:ext uri="{FF2B5EF4-FFF2-40B4-BE49-F238E27FC236}">
                <a16:creationId xmlns:a16="http://schemas.microsoft.com/office/drawing/2014/main" id="{EA4C8B34-ACA0-D671-925A-3804BEC07B5B}"/>
              </a:ext>
            </a:extLst>
          </p:cNvPr>
          <p:cNvSpPr/>
          <p:nvPr/>
        </p:nvSpPr>
        <p:spPr bwMode="gray">
          <a:xfrm>
            <a:off x="132712" y="547975"/>
            <a:ext cx="2160000"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施主体（提案者の構成）</a:t>
            </a:r>
            <a:endParaRPr kumimoji="1" lang="en-US" altLang="ja-JP" sz="1200" b="1" dirty="0">
              <a:latin typeface="+mj-ea"/>
              <a:ea typeface="+mj-ea"/>
              <a:cs typeface="+mn-cs"/>
            </a:endParaRPr>
          </a:p>
        </p:txBody>
      </p:sp>
      <p:sp>
        <p:nvSpPr>
          <p:cNvPr id="4" name="正方形/長方形 3">
            <a:extLst>
              <a:ext uri="{FF2B5EF4-FFF2-40B4-BE49-F238E27FC236}">
                <a16:creationId xmlns:a16="http://schemas.microsoft.com/office/drawing/2014/main" id="{75FF03CF-7FF4-231D-D03D-6DF6C6477620}"/>
              </a:ext>
            </a:extLst>
          </p:cNvPr>
          <p:cNvSpPr/>
          <p:nvPr/>
        </p:nvSpPr>
        <p:spPr bwMode="gray">
          <a:xfrm>
            <a:off x="415923" y="6310025"/>
            <a:ext cx="8964283" cy="2613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200"/>
              </a:lnSpc>
              <a:spcBef>
                <a:spcPts val="0"/>
              </a:spcBef>
              <a:spcAft>
                <a:spcPts val="0"/>
              </a:spcAft>
              <a:buSzPct val="100000"/>
            </a:pPr>
            <a:r>
              <a:rPr kumimoji="1" lang="en-US" altLang="ja-JP" sz="1050" dirty="0">
                <a:solidFill>
                  <a:srgbClr val="C00000"/>
                </a:solidFill>
                <a:latin typeface="+mn-ea"/>
              </a:rPr>
              <a:t>※</a:t>
            </a:r>
            <a:r>
              <a:rPr kumimoji="1" lang="ja-JP" altLang="en-US" sz="1050" dirty="0">
                <a:solidFill>
                  <a:srgbClr val="C00000"/>
                </a:solidFill>
                <a:latin typeface="+mn-ea"/>
              </a:rPr>
              <a:t>構成団体数に応じて適宜レイアウトを調整し、</a:t>
            </a:r>
            <a:r>
              <a:rPr kumimoji="1" lang="en-US" altLang="ja-JP" sz="1050" dirty="0">
                <a:solidFill>
                  <a:srgbClr val="C00000"/>
                </a:solidFill>
                <a:latin typeface="+mn-ea"/>
              </a:rPr>
              <a:t>1</a:t>
            </a:r>
            <a:r>
              <a:rPr kumimoji="1" lang="ja-JP" altLang="en-US" sz="1050" dirty="0">
                <a:solidFill>
                  <a:srgbClr val="C00000"/>
                </a:solidFill>
                <a:latin typeface="+mn-ea"/>
              </a:rPr>
              <a:t>枚に収まるようにご記載ください。</a:t>
            </a:r>
            <a:endParaRPr kumimoji="1" lang="en-US" altLang="ja-JP" sz="1050" dirty="0">
              <a:solidFill>
                <a:srgbClr val="C00000"/>
              </a:solidFill>
              <a:latin typeface="+mn-ea"/>
            </a:endParaRPr>
          </a:p>
        </p:txBody>
      </p:sp>
      <p:sp>
        <p:nvSpPr>
          <p:cNvPr id="9" name="四角形: 角を丸くする 8">
            <a:extLst>
              <a:ext uri="{FF2B5EF4-FFF2-40B4-BE49-F238E27FC236}">
                <a16:creationId xmlns:a16="http://schemas.microsoft.com/office/drawing/2014/main" id="{8F678402-AF43-9A54-83B9-5BA1AFA957B6}"/>
              </a:ext>
            </a:extLst>
          </p:cNvPr>
          <p:cNvSpPr/>
          <p:nvPr/>
        </p:nvSpPr>
        <p:spPr bwMode="gray">
          <a:xfrm>
            <a:off x="4679092" y="108852"/>
            <a:ext cx="4784505" cy="378666"/>
          </a:xfrm>
          <a:prstGeom prst="roundRect">
            <a:avLst>
              <a:gd name="adj" fmla="val 50000"/>
            </a:avLst>
          </a:prstGeom>
          <a:solidFill>
            <a:srgbClr val="FFCCFF"/>
          </a:solidFill>
          <a:ln w="12700" algn="ctr">
            <a:solidFill>
              <a:srgbClr val="CC99FF"/>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algn="ctr" defTabSz="990564" fontAlgn="auto">
              <a:lnSpc>
                <a:spcPts val="1200"/>
              </a:lnSpc>
              <a:spcBef>
                <a:spcPts val="0"/>
              </a:spcBef>
              <a:spcAft>
                <a:spcPts val="0"/>
              </a:spcAft>
              <a:buSzPct val="100000"/>
            </a:pPr>
            <a:r>
              <a:rPr kumimoji="1" lang="ja-JP" altLang="en-US" sz="1200" dirty="0">
                <a:solidFill>
                  <a:prstClr val="black"/>
                </a:solidFill>
                <a:latin typeface="+mn-ea"/>
              </a:rPr>
              <a:t>実施主体に含める場合には明確に団体に承諾を得た上で記載してください。承諾を得ているか事務局より確認を行う場合がございます。</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4085811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680B9BF-0EF3-967F-4120-FD5AEB84FE47}"/>
              </a:ext>
            </a:extLst>
          </p:cNvPr>
          <p:cNvSpPr>
            <a:spLocks noGrp="1"/>
          </p:cNvSpPr>
          <p:nvPr>
            <p:ph type="sldNum" sz="quarter" idx="11"/>
          </p:nvPr>
        </p:nvSpPr>
        <p:spPr/>
        <p:txBody>
          <a:bodyPr/>
          <a:lstStyle/>
          <a:p>
            <a:fld id="{AA5FCFE5-FE56-4EF1-80A8-07776887C2A1}" type="slidenum">
              <a:rPr lang="ja-JP" altLang="en-US" smtClean="0"/>
              <a:pPr/>
              <a:t>9</a:t>
            </a:fld>
            <a:endParaRPr lang="ja-JP" altLang="en-US"/>
          </a:p>
        </p:txBody>
      </p:sp>
      <p:graphicFrame>
        <p:nvGraphicFramePr>
          <p:cNvPr id="6" name="表 5">
            <a:extLst>
              <a:ext uri="{FF2B5EF4-FFF2-40B4-BE49-F238E27FC236}">
                <a16:creationId xmlns:a16="http://schemas.microsoft.com/office/drawing/2014/main" id="{618EF29C-880B-335C-6FB3-CBE92FA59955}"/>
              </a:ext>
            </a:extLst>
          </p:cNvPr>
          <p:cNvGraphicFramePr>
            <a:graphicFrameLocks noGrp="1"/>
          </p:cNvGraphicFramePr>
          <p:nvPr>
            <p:extLst>
              <p:ext uri="{D42A27DB-BD31-4B8C-83A1-F6EECF244321}">
                <p14:modId xmlns:p14="http://schemas.microsoft.com/office/powerpoint/2010/main" val="1686087553"/>
              </p:ext>
            </p:extLst>
          </p:nvPr>
        </p:nvGraphicFramePr>
        <p:xfrm>
          <a:off x="416496" y="948689"/>
          <a:ext cx="9072000" cy="4355151"/>
        </p:xfrm>
        <a:graphic>
          <a:graphicData uri="http://schemas.openxmlformats.org/drawingml/2006/table">
            <a:tbl>
              <a:tblPr firstRow="1" bandRow="1">
                <a:tableStyleId>{5C22544A-7EE6-4342-B048-85BDC9FD1C3A}</a:tableStyleId>
              </a:tblPr>
              <a:tblGrid>
                <a:gridCol w="1193229">
                  <a:extLst>
                    <a:ext uri="{9D8B030D-6E8A-4147-A177-3AD203B41FA5}">
                      <a16:colId xmlns:a16="http://schemas.microsoft.com/office/drawing/2014/main" val="2377308403"/>
                    </a:ext>
                  </a:extLst>
                </a:gridCol>
                <a:gridCol w="2435571">
                  <a:extLst>
                    <a:ext uri="{9D8B030D-6E8A-4147-A177-3AD203B41FA5}">
                      <a16:colId xmlns:a16="http://schemas.microsoft.com/office/drawing/2014/main" val="279133109"/>
                    </a:ext>
                  </a:extLst>
                </a:gridCol>
                <a:gridCol w="1814400">
                  <a:extLst>
                    <a:ext uri="{9D8B030D-6E8A-4147-A177-3AD203B41FA5}">
                      <a16:colId xmlns:a16="http://schemas.microsoft.com/office/drawing/2014/main" val="3962416090"/>
                    </a:ext>
                  </a:extLst>
                </a:gridCol>
                <a:gridCol w="1814400">
                  <a:extLst>
                    <a:ext uri="{9D8B030D-6E8A-4147-A177-3AD203B41FA5}">
                      <a16:colId xmlns:a16="http://schemas.microsoft.com/office/drawing/2014/main" val="1051598545"/>
                    </a:ext>
                  </a:extLst>
                </a:gridCol>
                <a:gridCol w="1814400">
                  <a:extLst>
                    <a:ext uri="{9D8B030D-6E8A-4147-A177-3AD203B41FA5}">
                      <a16:colId xmlns:a16="http://schemas.microsoft.com/office/drawing/2014/main" val="1703047443"/>
                    </a:ext>
                  </a:extLst>
                </a:gridCol>
              </a:tblGrid>
              <a:tr h="327661">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200" dirty="0"/>
                        <a:t>所属団体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200" dirty="0"/>
                        <a:t>役職・職位等</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200" dirty="0"/>
                        <a:t>氏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r>
                        <a:rPr kumimoji="1" lang="ja-JP" altLang="en-US" sz="1200" dirty="0"/>
                        <a:t>本提案内容に関する役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960417994"/>
                  </a:ext>
                </a:extLst>
              </a:tr>
              <a:tr h="805498">
                <a:tc>
                  <a:txBody>
                    <a:bodyPr/>
                    <a:lstStyle/>
                    <a:p>
                      <a:r>
                        <a:rPr kumimoji="1" lang="ja-JP" altLang="en-US" sz="1200" dirty="0"/>
                        <a:t>統括責任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5489118"/>
                  </a:ext>
                </a:extLst>
              </a:tr>
              <a:tr h="805498">
                <a:tc>
                  <a:txBody>
                    <a:bodyPr/>
                    <a:lstStyle/>
                    <a:p>
                      <a:r>
                        <a:rPr kumimoji="1" lang="ja-JP" altLang="en-US" sz="1200" dirty="0"/>
                        <a:t>管理技術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933055"/>
                  </a:ext>
                </a:extLst>
              </a:tr>
              <a:tr h="805498">
                <a:tc>
                  <a:txBody>
                    <a:bodyPr/>
                    <a:lstStyle/>
                    <a:p>
                      <a:r>
                        <a:rPr kumimoji="1" lang="ja-JP" altLang="en-US" sz="1200" dirty="0"/>
                        <a:t>担当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41719486"/>
                  </a:ext>
                </a:extLst>
              </a:tr>
              <a:tr h="805498">
                <a:tc>
                  <a:txBody>
                    <a:bodyPr/>
                    <a:lstStyle/>
                    <a:p>
                      <a:r>
                        <a:rPr kumimoji="1" lang="ja-JP" altLang="en-US" sz="1200" dirty="0"/>
                        <a:t>担当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8510340"/>
                  </a:ext>
                </a:extLst>
              </a:tr>
              <a:tr h="805498">
                <a:tc>
                  <a:txBody>
                    <a:bodyPr/>
                    <a:lstStyle/>
                    <a:p>
                      <a:r>
                        <a:rPr kumimoji="1" lang="ja-JP" altLang="en-US" sz="1200" dirty="0"/>
                        <a:t>担当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46564138"/>
                  </a:ext>
                </a:extLst>
              </a:tr>
            </a:tbl>
          </a:graphicData>
        </a:graphic>
      </p:graphicFrame>
      <p:sp>
        <p:nvSpPr>
          <p:cNvPr id="7" name="正方形/長方形 6">
            <a:extLst>
              <a:ext uri="{FF2B5EF4-FFF2-40B4-BE49-F238E27FC236}">
                <a16:creationId xmlns:a16="http://schemas.microsoft.com/office/drawing/2014/main" id="{D192FBBC-001A-8529-3E0D-5E13D6A6BC79}"/>
              </a:ext>
            </a:extLst>
          </p:cNvPr>
          <p:cNvSpPr/>
          <p:nvPr/>
        </p:nvSpPr>
        <p:spPr bwMode="gray">
          <a:xfrm>
            <a:off x="132711" y="576550"/>
            <a:ext cx="3096263" cy="221018"/>
          </a:xfrm>
          <a:prstGeom prst="rect">
            <a:avLst/>
          </a:prstGeom>
          <a:noFill/>
          <a:ln w="12700" algn="ctr">
            <a:noFill/>
            <a:miter lim="800000"/>
            <a:headEnd/>
            <a:tailEnd/>
          </a:ln>
        </p:spPr>
        <p:txBody>
          <a:bodyPr rot="0" spcFirstLastPara="0" vertOverflow="overflow" horzOverflow="overflow" vert="horz" wrap="square" lIns="72000" tIns="18000" rIns="72000" bIns="18000" numCol="1" spcCol="0" rtlCol="0" fromWordArt="0" anchor="t" anchorCtr="0" forceAA="0" compatLnSpc="1">
            <a:prstTxWarp prst="textNoShape">
              <a:avLst/>
            </a:prstTxWarp>
            <a:sp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dirty="0">
                <a:latin typeface="+mj-ea"/>
                <a:ea typeface="+mj-ea"/>
                <a:cs typeface="+mn-cs"/>
              </a:rPr>
              <a:t>■実施主体（代表団体・構成団体）の担当者</a:t>
            </a:r>
            <a:endParaRPr kumimoji="1" lang="en-US" altLang="ja-JP" sz="1200" b="1" dirty="0">
              <a:latin typeface="+mj-ea"/>
              <a:ea typeface="+mj-ea"/>
              <a:cs typeface="+mn-cs"/>
            </a:endParaRPr>
          </a:p>
        </p:txBody>
      </p:sp>
      <p:sp>
        <p:nvSpPr>
          <p:cNvPr id="8" name="テキスト ボックス 7">
            <a:extLst>
              <a:ext uri="{FF2B5EF4-FFF2-40B4-BE49-F238E27FC236}">
                <a16:creationId xmlns:a16="http://schemas.microsoft.com/office/drawing/2014/main" id="{EA8DBB1E-6E71-4E50-485F-D1320555E69B}"/>
              </a:ext>
            </a:extLst>
          </p:cNvPr>
          <p:cNvSpPr txBox="1"/>
          <p:nvPr/>
        </p:nvSpPr>
        <p:spPr>
          <a:xfrm>
            <a:off x="16176" y="3652"/>
            <a:ext cx="4909482" cy="465577"/>
          </a:xfrm>
          <a:prstGeom prst="rect">
            <a:avLst/>
          </a:prstGeom>
          <a:noFill/>
        </p:spPr>
        <p:txBody>
          <a:bodyPr wrap="square" rtlCol="0">
            <a:spAutoFit/>
          </a:bodyPr>
          <a:lstStyle/>
          <a:p>
            <a:pPr>
              <a:lnSpc>
                <a:spcPct val="150000"/>
              </a:lnSpc>
            </a:pP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様式第３号</a:t>
            </a:r>
            <a:r>
              <a:rPr lang="en-US" altLang="ja-JP"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a:t>
            </a:r>
            <a:r>
              <a:rPr lang="ja-JP" altLang="en-US" sz="1800" b="1" u="sng" dirty="0">
                <a:solidFill>
                  <a:srgbClr val="002060"/>
                </a:solidFill>
                <a:effectLst>
                  <a:outerShdw blurRad="38100" dist="38100" dir="2700000" algn="tl">
                    <a:srgbClr val="000000">
                      <a:alpha val="43137"/>
                    </a:srgbClr>
                  </a:outerShdw>
                </a:effectLst>
                <a:latin typeface="游ゴシック" panose="020B0400000000000000" pitchFamily="50" charset="-128"/>
              </a:rPr>
              <a:t>　２．実施体制②</a:t>
            </a:r>
          </a:p>
        </p:txBody>
      </p:sp>
      <p:sp>
        <p:nvSpPr>
          <p:cNvPr id="3" name="正方形/長方形 2">
            <a:extLst>
              <a:ext uri="{FF2B5EF4-FFF2-40B4-BE49-F238E27FC236}">
                <a16:creationId xmlns:a16="http://schemas.microsoft.com/office/drawing/2014/main" id="{A4A29418-E407-495A-919B-93C0FB9AB5F2}"/>
              </a:ext>
            </a:extLst>
          </p:cNvPr>
          <p:cNvSpPr/>
          <p:nvPr/>
        </p:nvSpPr>
        <p:spPr bwMode="gray">
          <a:xfrm>
            <a:off x="415923" y="6140741"/>
            <a:ext cx="8964283" cy="43058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0000" indent="-457200" defTabSz="990564" fontAlgn="auto">
              <a:lnSpc>
                <a:spcPts val="1200"/>
              </a:lnSpc>
              <a:spcBef>
                <a:spcPts val="0"/>
              </a:spcBef>
              <a:spcAft>
                <a:spcPts val="0"/>
              </a:spcAft>
              <a:buSzPct val="100000"/>
            </a:pPr>
            <a:r>
              <a:rPr kumimoji="1" lang="en-US" altLang="ja-JP" sz="1050" dirty="0">
                <a:solidFill>
                  <a:srgbClr val="C00000"/>
                </a:solidFill>
                <a:latin typeface="+mn-ea"/>
              </a:rPr>
              <a:t>※</a:t>
            </a:r>
            <a:r>
              <a:rPr kumimoji="1" lang="ja-JP" altLang="en-US" sz="1050" dirty="0">
                <a:solidFill>
                  <a:srgbClr val="C00000"/>
                </a:solidFill>
                <a:latin typeface="+mn-ea"/>
              </a:rPr>
              <a:t>記載人数に応じて適宜レイアウト・枚数を調整しご記入ください。</a:t>
            </a:r>
            <a:endParaRPr kumimoji="1" lang="en-US" altLang="ja-JP" sz="1050" dirty="0">
              <a:solidFill>
                <a:srgbClr val="C00000"/>
              </a:solidFill>
              <a:latin typeface="+mn-ea"/>
            </a:endParaRPr>
          </a:p>
        </p:txBody>
      </p:sp>
    </p:spTree>
    <p:extLst>
      <p:ext uri="{BB962C8B-B14F-4D97-AF65-F5344CB8AC3E}">
        <p14:creationId xmlns:p14="http://schemas.microsoft.com/office/powerpoint/2010/main" val="17697900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DT Template_A4_J_2022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317BAF03-32A8-4DC6-946F-04FEAE9DF8F6}"/>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215DB30BE922448E854745D1D75433" ma:contentTypeVersion="10" ma:contentTypeDescription="Create a new document." ma:contentTypeScope="" ma:versionID="6877761994c72de5ed6ba67977b2e38f">
  <xsd:schema xmlns:xsd="http://www.w3.org/2001/XMLSchema" xmlns:xs="http://www.w3.org/2001/XMLSchema" xmlns:p="http://schemas.microsoft.com/office/2006/metadata/properties" xmlns:ns2="eb61a4cb-76c0-4c9a-abec-77fc3fa7337a" targetNamespace="http://schemas.microsoft.com/office/2006/metadata/properties" ma:root="true" ma:fieldsID="acbc36b6e78488f1b5bf2229ec35e5dc" ns2:_="">
    <xsd:import namespace="eb61a4cb-76c0-4c9a-abec-77fc3fa7337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lcf76f155ced4ddcb4097134ff3c332f" minOccurs="0"/>
                <xsd:element ref="ns2:MediaServiceLocatio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61a4cb-76c0-4c9a-abec-77fc3fa733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b61a4cb-76c0-4c9a-abec-77fc3fa7337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1117D6C-D22B-4E32-AF85-3DAB8F01B9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b61a4cb-76c0-4c9a-abec-77fc3fa733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E12BB45-B07D-46DB-854B-4EEB38043642}">
  <ds:schemaRefs>
    <ds:schemaRef ds:uri="http://schemas.microsoft.com/sharepoint/v3/contenttype/forms"/>
  </ds:schemaRefs>
</ds:datastoreItem>
</file>

<file path=customXml/itemProps3.xml><?xml version="1.0" encoding="utf-8"?>
<ds:datastoreItem xmlns:ds="http://schemas.openxmlformats.org/officeDocument/2006/customXml" ds:itemID="{428940B4-A399-4238-AC21-65B2D5183CC3}">
  <ds:schemaRefs>
    <ds:schemaRef ds:uri="http://schemas.microsoft.com/office/2006/documentManagement/types"/>
    <ds:schemaRef ds:uri="http://purl.org/dc/dcmitype/"/>
    <ds:schemaRef ds:uri="http://www.w3.org/XML/1998/namespace"/>
    <ds:schemaRef ds:uri="http://schemas.microsoft.com/office/infopath/2007/PartnerControls"/>
    <ds:schemaRef ds:uri="http://purl.org/dc/terms/"/>
    <ds:schemaRef ds:uri="http://schemas.openxmlformats.org/package/2006/metadata/core-properties"/>
    <ds:schemaRef ds:uri="eb61a4cb-76c0-4c9a-abec-77fc3fa7337a"/>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otalTime>1702</TotalTime>
  <Words>2671</Words>
  <Application>Microsoft Office PowerPoint</Application>
  <PresentationFormat>A4 210 x 297 mm</PresentationFormat>
  <Paragraphs>501</Paragraphs>
  <Slides>22</Slides>
  <Notes>6</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22</vt:i4>
      </vt:variant>
    </vt:vector>
  </HeadingPairs>
  <TitlesOfParts>
    <vt:vector size="33" baseType="lpstr">
      <vt:lpstr>Meiryo UI</vt:lpstr>
      <vt:lpstr>游ゴシック</vt:lpstr>
      <vt:lpstr>Arial</vt:lpstr>
      <vt:lpstr>Calibri</vt:lpstr>
      <vt:lpstr>Calibri Light</vt:lpstr>
      <vt:lpstr>Century</vt:lpstr>
      <vt:lpstr>Verdana</vt:lpstr>
      <vt:lpstr>Wingdings</vt:lpstr>
      <vt:lpstr>DT Template_A4_J_202201</vt:lpstr>
      <vt:lpstr>DT Template_A4_J_202201_補足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Masuda, Yusuke 2</cp:lastModifiedBy>
  <cp:revision>1</cp:revision>
  <dcterms:modified xsi:type="dcterms:W3CDTF">2026-05-20T04:4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ContentBits">
    <vt:lpwstr>0</vt:lpwstr>
  </property>
  <property fmtid="{D5CDD505-2E9C-101B-9397-08002B2CF9AE}" pid="3" name="MSIP_Label_ea60d57e-af5b-4752-ac57-3e4f28ca11dc_Enabled">
    <vt:lpwstr>true</vt:lpwstr>
  </property>
  <property fmtid="{D5CDD505-2E9C-101B-9397-08002B2CF9AE}" pid="4" name="MSIP_Label_ea60d57e-af5b-4752-ac57-3e4f28ca11dc_Name">
    <vt:lpwstr>ea60d57e-af5b-4752-ac57-3e4f28ca11dc</vt:lpwstr>
  </property>
  <property fmtid="{D5CDD505-2E9C-101B-9397-08002B2CF9AE}" pid="5" name="MediaServiceImageTags">
    <vt:lpwstr/>
  </property>
  <property fmtid="{D5CDD505-2E9C-101B-9397-08002B2CF9AE}" pid="6" name="MSIP_Label_ea60d57e-af5b-4752-ac57-3e4f28ca11dc_SetDate">
    <vt:lpwstr>2021-06-10T06:45:02Z</vt:lpwstr>
  </property>
  <property fmtid="{D5CDD505-2E9C-101B-9397-08002B2CF9AE}" pid="7" name="ContentTypeId">
    <vt:lpwstr>0x010100A2215DB30BE922448E854745D1D75433</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SiteId">
    <vt:lpwstr>36da45f1-dd2c-4d1f-af13-5abe46b99921</vt:lpwstr>
  </property>
  <property fmtid="{D5CDD505-2E9C-101B-9397-08002B2CF9AE}" pid="10" name="MSIP_Label_ea60d57e-af5b-4752-ac57-3e4f28ca11dc_Method">
    <vt:lpwstr>Standard</vt:lpwstr>
  </property>
</Properties>
</file>